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6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7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8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9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0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11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2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13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14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4174" r:id="rId2"/>
    <p:sldMasterId id="2147484184" r:id="rId3"/>
    <p:sldMasterId id="2147484190" r:id="rId4"/>
  </p:sldMasterIdLst>
  <p:notesMasterIdLst>
    <p:notesMasterId r:id="rId35"/>
  </p:notesMasterIdLst>
  <p:sldIdLst>
    <p:sldId id="2081" r:id="rId5"/>
    <p:sldId id="2114" r:id="rId6"/>
    <p:sldId id="2085" r:id="rId7"/>
    <p:sldId id="2115" r:id="rId8"/>
    <p:sldId id="2116" r:id="rId9"/>
    <p:sldId id="2117" r:id="rId10"/>
    <p:sldId id="2118" r:id="rId11"/>
    <p:sldId id="2119" r:id="rId12"/>
    <p:sldId id="2120" r:id="rId13"/>
    <p:sldId id="2121" r:id="rId14"/>
    <p:sldId id="2088" r:id="rId15"/>
    <p:sldId id="2084" r:id="rId16"/>
    <p:sldId id="2108" r:id="rId17"/>
    <p:sldId id="2122" r:id="rId18"/>
    <p:sldId id="2123" r:id="rId19"/>
    <p:sldId id="2124" r:id="rId20"/>
    <p:sldId id="2125" r:id="rId21"/>
    <p:sldId id="2127" r:id="rId22"/>
    <p:sldId id="2128" r:id="rId23"/>
    <p:sldId id="2129" r:id="rId24"/>
    <p:sldId id="2130" r:id="rId25"/>
    <p:sldId id="2089" r:id="rId26"/>
    <p:sldId id="2126" r:id="rId27"/>
    <p:sldId id="2090" r:id="rId28"/>
    <p:sldId id="1842" r:id="rId29"/>
    <p:sldId id="2102" r:id="rId30"/>
    <p:sldId id="2103" r:id="rId31"/>
    <p:sldId id="2104" r:id="rId32"/>
    <p:sldId id="2132" r:id="rId33"/>
    <p:sldId id="213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chová Anna Mgr." initials="KAM" lastIdx="1" clrIdx="0">
    <p:extLst>
      <p:ext uri="{19B8F6BF-5375-455C-9EA6-DF929625EA0E}">
        <p15:presenceInfo xmlns:p15="http://schemas.microsoft.com/office/powerpoint/2012/main" userId="Klechová Anna Mgr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00FF"/>
    <a:srgbClr val="4DE5F5"/>
    <a:srgbClr val="F7E7E9"/>
    <a:srgbClr val="FBCBD8"/>
    <a:srgbClr val="C00000"/>
    <a:srgbClr val="FFFFFF"/>
    <a:srgbClr val="FFCCFF"/>
    <a:srgbClr val="305983"/>
    <a:srgbClr val="D31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3721" autoAdjust="0"/>
  </p:normalViewPr>
  <p:slideViewPr>
    <p:cSldViewPr snapToGrid="0">
      <p:cViewPr varScale="1">
        <p:scale>
          <a:sx n="107" d="100"/>
          <a:sy n="107" d="100"/>
        </p:scale>
        <p:origin x="108" y="114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83</c:f>
              <c:numCache>
                <c:formatCode>m/d/yyyy</c:formatCode>
                <c:ptCount val="82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  <c:pt idx="57">
                  <c:v>44355</c:v>
                </c:pt>
                <c:pt idx="58">
                  <c:v>44356</c:v>
                </c:pt>
                <c:pt idx="59">
                  <c:v>44357</c:v>
                </c:pt>
                <c:pt idx="60">
                  <c:v>44358</c:v>
                </c:pt>
                <c:pt idx="61">
                  <c:v>44359</c:v>
                </c:pt>
                <c:pt idx="62">
                  <c:v>44360</c:v>
                </c:pt>
                <c:pt idx="63">
                  <c:v>44361</c:v>
                </c:pt>
                <c:pt idx="64">
                  <c:v>44362</c:v>
                </c:pt>
                <c:pt idx="65">
                  <c:v>44363</c:v>
                </c:pt>
                <c:pt idx="66">
                  <c:v>44364</c:v>
                </c:pt>
                <c:pt idx="67">
                  <c:v>44365</c:v>
                </c:pt>
                <c:pt idx="68">
                  <c:v>44366</c:v>
                </c:pt>
                <c:pt idx="69">
                  <c:v>44367</c:v>
                </c:pt>
                <c:pt idx="70">
                  <c:v>44368</c:v>
                </c:pt>
                <c:pt idx="71">
                  <c:v>44369</c:v>
                </c:pt>
                <c:pt idx="72">
                  <c:v>44370</c:v>
                </c:pt>
                <c:pt idx="73">
                  <c:v>44371</c:v>
                </c:pt>
                <c:pt idx="74">
                  <c:v>44372</c:v>
                </c:pt>
                <c:pt idx="75">
                  <c:v>44373</c:v>
                </c:pt>
                <c:pt idx="76">
                  <c:v>44374</c:v>
                </c:pt>
                <c:pt idx="77">
                  <c:v>44375</c:v>
                </c:pt>
                <c:pt idx="78">
                  <c:v>44376</c:v>
                </c:pt>
                <c:pt idx="79">
                  <c:v>44377</c:v>
                </c:pt>
                <c:pt idx="80">
                  <c:v>44378</c:v>
                </c:pt>
                <c:pt idx="81">
                  <c:v>44379</c:v>
                </c:pt>
              </c:numCache>
            </c:numRef>
          </c:cat>
          <c:val>
            <c:numRef>
              <c:f>List1!$B$2:$B$83</c:f>
              <c:numCache>
                <c:formatCode>General</c:formatCode>
                <c:ptCount val="82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  <c:pt idx="42">
                  <c:v>5956713</c:v>
                </c:pt>
                <c:pt idx="43">
                  <c:v>6046619</c:v>
                </c:pt>
                <c:pt idx="44">
                  <c:v>6107443</c:v>
                </c:pt>
                <c:pt idx="45">
                  <c:v>6141760</c:v>
                </c:pt>
                <c:pt idx="46">
                  <c:v>6153577</c:v>
                </c:pt>
                <c:pt idx="47">
                  <c:v>6167571</c:v>
                </c:pt>
                <c:pt idx="48">
                  <c:v>6173874</c:v>
                </c:pt>
                <c:pt idx="49">
                  <c:v>6982664</c:v>
                </c:pt>
                <c:pt idx="50">
                  <c:v>7082158</c:v>
                </c:pt>
                <c:pt idx="51">
                  <c:v>7127051</c:v>
                </c:pt>
                <c:pt idx="52">
                  <c:v>7158582</c:v>
                </c:pt>
                <c:pt idx="53">
                  <c:v>7170808</c:v>
                </c:pt>
                <c:pt idx="54">
                  <c:v>7171955</c:v>
                </c:pt>
                <c:pt idx="55">
                  <c:v>7178393</c:v>
                </c:pt>
                <c:pt idx="56">
                  <c:v>7966889</c:v>
                </c:pt>
                <c:pt idx="57">
                  <c:v>8063416</c:v>
                </c:pt>
                <c:pt idx="58">
                  <c:v>8114169</c:v>
                </c:pt>
                <c:pt idx="59">
                  <c:v>8154117</c:v>
                </c:pt>
                <c:pt idx="60">
                  <c:v>8167563</c:v>
                </c:pt>
                <c:pt idx="61">
                  <c:v>8184598</c:v>
                </c:pt>
                <c:pt idx="62">
                  <c:v>8192033</c:v>
                </c:pt>
                <c:pt idx="63">
                  <c:v>9037134</c:v>
                </c:pt>
                <c:pt idx="64">
                  <c:v>9085474</c:v>
                </c:pt>
                <c:pt idx="65">
                  <c:v>9116658</c:v>
                </c:pt>
                <c:pt idx="66">
                  <c:v>9134702</c:v>
                </c:pt>
                <c:pt idx="67">
                  <c:v>9147661</c:v>
                </c:pt>
                <c:pt idx="68">
                  <c:v>9181893</c:v>
                </c:pt>
                <c:pt idx="69">
                  <c:v>9187093</c:v>
                </c:pt>
                <c:pt idx="70">
                  <c:v>9883640</c:v>
                </c:pt>
                <c:pt idx="71">
                  <c:v>9993541</c:v>
                </c:pt>
                <c:pt idx="72">
                  <c:v>10044709</c:v>
                </c:pt>
                <c:pt idx="73">
                  <c:v>10094509</c:v>
                </c:pt>
                <c:pt idx="74">
                  <c:v>10113664</c:v>
                </c:pt>
                <c:pt idx="75">
                  <c:v>10136920</c:v>
                </c:pt>
                <c:pt idx="76">
                  <c:v>10140454</c:v>
                </c:pt>
                <c:pt idx="77">
                  <c:v>10735869</c:v>
                </c:pt>
                <c:pt idx="78">
                  <c:v>10837288</c:v>
                </c:pt>
                <c:pt idx="79">
                  <c:v>10933908</c:v>
                </c:pt>
                <c:pt idx="80">
                  <c:v>10938274</c:v>
                </c:pt>
                <c:pt idx="81">
                  <c:v>109408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83</c:f>
              <c:numCache>
                <c:formatCode>m/d/yyyy</c:formatCode>
                <c:ptCount val="82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  <c:pt idx="57">
                  <c:v>44355</c:v>
                </c:pt>
                <c:pt idx="58">
                  <c:v>44356</c:v>
                </c:pt>
                <c:pt idx="59">
                  <c:v>44357</c:v>
                </c:pt>
                <c:pt idx="60">
                  <c:v>44358</c:v>
                </c:pt>
                <c:pt idx="61">
                  <c:v>44359</c:v>
                </c:pt>
                <c:pt idx="62">
                  <c:v>44360</c:v>
                </c:pt>
                <c:pt idx="63">
                  <c:v>44361</c:v>
                </c:pt>
                <c:pt idx="64">
                  <c:v>44362</c:v>
                </c:pt>
                <c:pt idx="65">
                  <c:v>44363</c:v>
                </c:pt>
                <c:pt idx="66">
                  <c:v>44364</c:v>
                </c:pt>
                <c:pt idx="67">
                  <c:v>44365</c:v>
                </c:pt>
                <c:pt idx="68">
                  <c:v>44366</c:v>
                </c:pt>
                <c:pt idx="69">
                  <c:v>44367</c:v>
                </c:pt>
                <c:pt idx="70">
                  <c:v>44368</c:v>
                </c:pt>
                <c:pt idx="71">
                  <c:v>44369</c:v>
                </c:pt>
                <c:pt idx="72">
                  <c:v>44370</c:v>
                </c:pt>
                <c:pt idx="73">
                  <c:v>44371</c:v>
                </c:pt>
                <c:pt idx="74">
                  <c:v>44372</c:v>
                </c:pt>
                <c:pt idx="75">
                  <c:v>44373</c:v>
                </c:pt>
                <c:pt idx="76">
                  <c:v>44374</c:v>
                </c:pt>
                <c:pt idx="77">
                  <c:v>44375</c:v>
                </c:pt>
                <c:pt idx="78">
                  <c:v>44376</c:v>
                </c:pt>
                <c:pt idx="79">
                  <c:v>44377</c:v>
                </c:pt>
                <c:pt idx="80">
                  <c:v>44378</c:v>
                </c:pt>
                <c:pt idx="81">
                  <c:v>44379</c:v>
                </c:pt>
              </c:numCache>
            </c:numRef>
          </c:cat>
          <c:val>
            <c:numRef>
              <c:f>List1!$C$2:$C$83</c:f>
              <c:numCache>
                <c:formatCode>General</c:formatCode>
                <c:ptCount val="82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  <c:pt idx="42">
                  <c:v>1363578</c:v>
                </c:pt>
                <c:pt idx="43">
                  <c:v>1374784</c:v>
                </c:pt>
                <c:pt idx="44">
                  <c:v>1380014</c:v>
                </c:pt>
                <c:pt idx="45">
                  <c:v>1384073</c:v>
                </c:pt>
                <c:pt idx="46">
                  <c:v>1385471</c:v>
                </c:pt>
                <c:pt idx="47">
                  <c:v>1386899</c:v>
                </c:pt>
                <c:pt idx="48">
                  <c:v>1387006</c:v>
                </c:pt>
                <c:pt idx="49">
                  <c:v>1447522</c:v>
                </c:pt>
                <c:pt idx="50">
                  <c:v>1456357</c:v>
                </c:pt>
                <c:pt idx="51">
                  <c:v>1459827</c:v>
                </c:pt>
                <c:pt idx="52">
                  <c:v>1462418</c:v>
                </c:pt>
                <c:pt idx="53">
                  <c:v>1463401</c:v>
                </c:pt>
                <c:pt idx="54">
                  <c:v>1463427</c:v>
                </c:pt>
                <c:pt idx="55">
                  <c:v>1463539</c:v>
                </c:pt>
                <c:pt idx="56">
                  <c:v>1515639</c:v>
                </c:pt>
                <c:pt idx="57">
                  <c:v>1522828</c:v>
                </c:pt>
                <c:pt idx="58">
                  <c:v>1526399</c:v>
                </c:pt>
                <c:pt idx="59">
                  <c:v>1529825</c:v>
                </c:pt>
                <c:pt idx="60">
                  <c:v>1530745</c:v>
                </c:pt>
                <c:pt idx="61">
                  <c:v>1531983</c:v>
                </c:pt>
                <c:pt idx="62">
                  <c:v>1532104</c:v>
                </c:pt>
                <c:pt idx="63">
                  <c:v>1584115</c:v>
                </c:pt>
                <c:pt idx="64">
                  <c:v>1587366</c:v>
                </c:pt>
                <c:pt idx="65">
                  <c:v>1589004</c:v>
                </c:pt>
                <c:pt idx="66">
                  <c:v>1590126</c:v>
                </c:pt>
                <c:pt idx="67">
                  <c:v>1590951</c:v>
                </c:pt>
                <c:pt idx="68">
                  <c:v>1592478</c:v>
                </c:pt>
                <c:pt idx="69">
                  <c:v>1592566</c:v>
                </c:pt>
                <c:pt idx="70">
                  <c:v>1632853</c:v>
                </c:pt>
                <c:pt idx="71">
                  <c:v>1640091</c:v>
                </c:pt>
                <c:pt idx="72">
                  <c:v>1643261</c:v>
                </c:pt>
                <c:pt idx="73">
                  <c:v>1646260</c:v>
                </c:pt>
                <c:pt idx="74">
                  <c:v>1647186</c:v>
                </c:pt>
                <c:pt idx="75">
                  <c:v>1648809</c:v>
                </c:pt>
                <c:pt idx="76">
                  <c:v>1648844</c:v>
                </c:pt>
                <c:pt idx="77">
                  <c:v>1685264</c:v>
                </c:pt>
                <c:pt idx="78">
                  <c:v>1691987</c:v>
                </c:pt>
                <c:pt idx="79">
                  <c:v>1698232</c:v>
                </c:pt>
                <c:pt idx="80">
                  <c:v>1698444</c:v>
                </c:pt>
                <c:pt idx="81">
                  <c:v>1698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4560783597242141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93.68263521716102</c:v>
                </c:pt>
                <c:pt idx="1">
                  <c:v>212.41668677477901</c:v>
                </c:pt>
                <c:pt idx="2">
                  <c:v>183.410994407652</c:v>
                </c:pt>
                <c:pt idx="3">
                  <c:v>154.28027750446</c:v>
                </c:pt>
                <c:pt idx="4">
                  <c:v>117.398039365225</c:v>
                </c:pt>
                <c:pt idx="5">
                  <c:v>180.660454614218</c:v>
                </c:pt>
                <c:pt idx="6">
                  <c:v>183.53601894371701</c:v>
                </c:pt>
                <c:pt idx="7">
                  <c:v>262.42650120086</c:v>
                </c:pt>
                <c:pt idx="8">
                  <c:v>193.66300636499901</c:v>
                </c:pt>
                <c:pt idx="9">
                  <c:v>233.92090697799401</c:v>
                </c:pt>
                <c:pt idx="10">
                  <c:v>556.10913641802199</c:v>
                </c:pt>
                <c:pt idx="11">
                  <c:v>794.53092669436296</c:v>
                </c:pt>
                <c:pt idx="12">
                  <c:v>797.65654009599302</c:v>
                </c:pt>
                <c:pt idx="13">
                  <c:v>789.02984710749399</c:v>
                </c:pt>
                <c:pt idx="14">
                  <c:v>394.20236221358402</c:v>
                </c:pt>
                <c:pt idx="15">
                  <c:v>363.82139994974</c:v>
                </c:pt>
                <c:pt idx="16">
                  <c:v>457.8398510707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5030486293927378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20.06 - 25.06</c:v>
                </c:pt>
                <c:pt idx="16">
                  <c:v>26.06 - 02.07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759.96629423441004</c:v>
                </c:pt>
                <c:pt idx="1">
                  <c:v>626.341972492428</c:v>
                </c:pt>
                <c:pt idx="2">
                  <c:v>530.79529388536503</c:v>
                </c:pt>
                <c:pt idx="3">
                  <c:v>431.37033681085597</c:v>
                </c:pt>
                <c:pt idx="4">
                  <c:v>326.83310357471498</c:v>
                </c:pt>
                <c:pt idx="5">
                  <c:v>341.11221975030901</c:v>
                </c:pt>
                <c:pt idx="6">
                  <c:v>292.63373890724199</c:v>
                </c:pt>
                <c:pt idx="7">
                  <c:v>275.35777118862097</c:v>
                </c:pt>
                <c:pt idx="8">
                  <c:v>240.45326498161299</c:v>
                </c:pt>
                <c:pt idx="9">
                  <c:v>230.40499804323201</c:v>
                </c:pt>
                <c:pt idx="10">
                  <c:v>267.60121425373097</c:v>
                </c:pt>
                <c:pt idx="11">
                  <c:v>193.208781832733</c:v>
                </c:pt>
                <c:pt idx="12">
                  <c:v>170.29168179782801</c:v>
                </c:pt>
                <c:pt idx="13">
                  <c:v>135.21089020593601</c:v>
                </c:pt>
                <c:pt idx="14">
                  <c:v>104.53723323614101</c:v>
                </c:pt>
                <c:pt idx="15">
                  <c:v>85.322126283797999</c:v>
                </c:pt>
                <c:pt idx="16">
                  <c:v>96.78067630124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8.9243512370193803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568.04881115331</c:v>
                </c:pt>
                <c:pt idx="1">
                  <c:v>1537.8027864298499</c:v>
                </c:pt>
                <c:pt idx="2">
                  <c:v>1339.95820117995</c:v>
                </c:pt>
                <c:pt idx="3">
                  <c:v>1089.6871730760499</c:v>
                </c:pt>
                <c:pt idx="4">
                  <c:v>970.24502838381795</c:v>
                </c:pt>
                <c:pt idx="5">
                  <c:v>974.159219818618</c:v>
                </c:pt>
                <c:pt idx="6">
                  <c:v>926.47725143105197</c:v>
                </c:pt>
                <c:pt idx="7">
                  <c:v>1009.7427783168</c:v>
                </c:pt>
                <c:pt idx="8">
                  <c:v>1178.88329304483</c:v>
                </c:pt>
                <c:pt idx="9">
                  <c:v>1364.27363282037</c:v>
                </c:pt>
                <c:pt idx="10">
                  <c:v>2071.7933876259299</c:v>
                </c:pt>
                <c:pt idx="11">
                  <c:v>1789.25993315035</c:v>
                </c:pt>
                <c:pt idx="12">
                  <c:v>1906.8042880560199</c:v>
                </c:pt>
                <c:pt idx="13">
                  <c:v>1804.2050277195899</c:v>
                </c:pt>
                <c:pt idx="14">
                  <c:v>1945.82759054236</c:v>
                </c:pt>
                <c:pt idx="15">
                  <c:v>1688.08401515385</c:v>
                </c:pt>
                <c:pt idx="16">
                  <c:v>2606.4956599919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20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4.220305242203001</c:v>
                </c:pt>
                <c:pt idx="1">
                  <c:v>23.964968152866</c:v>
                </c:pt>
                <c:pt idx="2">
                  <c:v>21.000981354267999</c:v>
                </c:pt>
                <c:pt idx="3">
                  <c:v>20.155038759688999</c:v>
                </c:pt>
                <c:pt idx="4">
                  <c:v>20.605187319883999</c:v>
                </c:pt>
                <c:pt idx="5">
                  <c:v>17.191601049868002</c:v>
                </c:pt>
                <c:pt idx="6">
                  <c:v>15.764331210190999</c:v>
                </c:pt>
                <c:pt idx="7">
                  <c:v>11.007751937984001</c:v>
                </c:pt>
                <c:pt idx="8">
                  <c:v>10.25641025641</c:v>
                </c:pt>
                <c:pt idx="9">
                  <c:v>7.5931232091689997</c:v>
                </c:pt>
                <c:pt idx="10">
                  <c:v>2.9769959404600002</c:v>
                </c:pt>
                <c:pt idx="11">
                  <c:v>2</c:v>
                </c:pt>
                <c:pt idx="12">
                  <c:v>2.620087336244</c:v>
                </c:pt>
                <c:pt idx="13">
                  <c:v>0.856164383561</c:v>
                </c:pt>
                <c:pt idx="14">
                  <c:v>0.85470085470000001</c:v>
                </c:pt>
                <c:pt idx="15">
                  <c:v>0.68807339449500005</c:v>
                </c:pt>
                <c:pt idx="16">
                  <c:v>0.8547008547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7.969348659003</c:v>
                </c:pt>
                <c:pt idx="1">
                  <c:v>26.486168334314002</c:v>
                </c:pt>
                <c:pt idx="2">
                  <c:v>25.289706884798001</c:v>
                </c:pt>
                <c:pt idx="3">
                  <c:v>20.664505672609</c:v>
                </c:pt>
                <c:pt idx="4">
                  <c:v>21.512247071352</c:v>
                </c:pt>
                <c:pt idx="5">
                  <c:v>18.131487889273</c:v>
                </c:pt>
                <c:pt idx="6">
                  <c:v>13.147138964577</c:v>
                </c:pt>
                <c:pt idx="7">
                  <c:v>8.7184373511190003</c:v>
                </c:pt>
                <c:pt idx="8">
                  <c:v>9.3608779857969999</c:v>
                </c:pt>
                <c:pt idx="9">
                  <c:v>4.7568145376800004</c:v>
                </c:pt>
                <c:pt idx="10">
                  <c:v>2.135791366906</c:v>
                </c:pt>
                <c:pt idx="11">
                  <c:v>0.80251770259599997</c:v>
                </c:pt>
                <c:pt idx="12">
                  <c:v>0.65830721003100001</c:v>
                </c:pt>
                <c:pt idx="13">
                  <c:v>0.237680240849</c:v>
                </c:pt>
                <c:pt idx="14">
                  <c:v>0.285442435775</c:v>
                </c:pt>
                <c:pt idx="15">
                  <c:v>0.240549828178</c:v>
                </c:pt>
                <c:pt idx="16">
                  <c:v>0.13653741124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3.297644539613998</c:v>
                </c:pt>
                <c:pt idx="1">
                  <c:v>27.764202810017999</c:v>
                </c:pt>
                <c:pt idx="2">
                  <c:v>25.349087003221999</c:v>
                </c:pt>
                <c:pt idx="3">
                  <c:v>20.058997050146999</c:v>
                </c:pt>
                <c:pt idx="4">
                  <c:v>19.033674963395999</c:v>
                </c:pt>
                <c:pt idx="5">
                  <c:v>16.326530612243999</c:v>
                </c:pt>
                <c:pt idx="6">
                  <c:v>13.469184890656001</c:v>
                </c:pt>
                <c:pt idx="7">
                  <c:v>11.559139784946</c:v>
                </c:pt>
                <c:pt idx="8">
                  <c:v>6.524520255863</c:v>
                </c:pt>
                <c:pt idx="9">
                  <c:v>4.3310590329269996</c:v>
                </c:pt>
                <c:pt idx="10">
                  <c:v>1.8149511359299999</c:v>
                </c:pt>
                <c:pt idx="11">
                  <c:v>0.90105852506299999</c:v>
                </c:pt>
                <c:pt idx="12">
                  <c:v>0.96073015491699998</c:v>
                </c:pt>
                <c:pt idx="13">
                  <c:v>0.53218708422799998</c:v>
                </c:pt>
                <c:pt idx="14">
                  <c:v>0.65235690235599997</c:v>
                </c:pt>
                <c:pt idx="15">
                  <c:v>0.39622641509399997</c:v>
                </c:pt>
                <c:pt idx="16">
                  <c:v>0.47519482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20.06 - 25.06</c:v>
                </c:pt>
                <c:pt idx="16">
                  <c:v>26.06 - 02.07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36.163303177915999</c:v>
                </c:pt>
                <c:pt idx="1">
                  <c:v>37.883478750351003</c:v>
                </c:pt>
                <c:pt idx="2">
                  <c:v>38.492195283957997</c:v>
                </c:pt>
                <c:pt idx="3">
                  <c:v>34.859011033919003</c:v>
                </c:pt>
                <c:pt idx="4">
                  <c:v>33.279395900754999</c:v>
                </c:pt>
                <c:pt idx="5">
                  <c:v>28.733850129198</c:v>
                </c:pt>
                <c:pt idx="6">
                  <c:v>25.662650602408998</c:v>
                </c:pt>
                <c:pt idx="7">
                  <c:v>24.647887323942999</c:v>
                </c:pt>
                <c:pt idx="8">
                  <c:v>24.706744868034999</c:v>
                </c:pt>
                <c:pt idx="9">
                  <c:v>18.668706962508999</c:v>
                </c:pt>
                <c:pt idx="10">
                  <c:v>13.241106719367</c:v>
                </c:pt>
                <c:pt idx="11">
                  <c:v>10.675182481750999</c:v>
                </c:pt>
                <c:pt idx="12">
                  <c:v>6.9358178053830004</c:v>
                </c:pt>
                <c:pt idx="13">
                  <c:v>4.5632333767919997</c:v>
                </c:pt>
                <c:pt idx="14">
                  <c:v>1.85497470489</c:v>
                </c:pt>
                <c:pt idx="15">
                  <c:v>2.0661157024789998</c:v>
                </c:pt>
                <c:pt idx="16">
                  <c:v>2.003642987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8.254127902103001</c:v>
                </c:pt>
                <c:pt idx="1">
                  <c:v>30.524095047745</c:v>
                </c:pt>
                <c:pt idx="2">
                  <c:v>28.002104432460001</c:v>
                </c:pt>
                <c:pt idx="3">
                  <c:v>26.775956284153001</c:v>
                </c:pt>
                <c:pt idx="4">
                  <c:v>24.409951095044999</c:v>
                </c:pt>
                <c:pt idx="5">
                  <c:v>18.187830687830001</c:v>
                </c:pt>
                <c:pt idx="6">
                  <c:v>12.080452545568001</c:v>
                </c:pt>
                <c:pt idx="7">
                  <c:v>8.7741393786730004</c:v>
                </c:pt>
                <c:pt idx="8">
                  <c:v>8.9813947262740008</c:v>
                </c:pt>
                <c:pt idx="9">
                  <c:v>6.2943746586560003</c:v>
                </c:pt>
                <c:pt idx="10">
                  <c:v>2.6882852530350001</c:v>
                </c:pt>
                <c:pt idx="11">
                  <c:v>2.5268419104030002</c:v>
                </c:pt>
                <c:pt idx="12">
                  <c:v>1.4048432163919999</c:v>
                </c:pt>
                <c:pt idx="13">
                  <c:v>0.87212150906399999</c:v>
                </c:pt>
                <c:pt idx="14">
                  <c:v>0.33878697735899999</c:v>
                </c:pt>
                <c:pt idx="15">
                  <c:v>0.25366714459</c:v>
                </c:pt>
                <c:pt idx="16">
                  <c:v>0.126718621301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9.568835098335001</c:v>
                </c:pt>
                <c:pt idx="1">
                  <c:v>27.288854608561</c:v>
                </c:pt>
                <c:pt idx="2">
                  <c:v>23.793927591395001</c:v>
                </c:pt>
                <c:pt idx="3">
                  <c:v>22.205290083813999</c:v>
                </c:pt>
                <c:pt idx="4">
                  <c:v>18.361858190709</c:v>
                </c:pt>
                <c:pt idx="5">
                  <c:v>16.120784122732001</c:v>
                </c:pt>
                <c:pt idx="6">
                  <c:v>11.970298297273001</c:v>
                </c:pt>
                <c:pt idx="7">
                  <c:v>9.3269117819799998</c:v>
                </c:pt>
                <c:pt idx="8">
                  <c:v>6.8316732065599997</c:v>
                </c:pt>
                <c:pt idx="9">
                  <c:v>3.8080333854980002</c:v>
                </c:pt>
                <c:pt idx="10">
                  <c:v>1.8606515142840001</c:v>
                </c:pt>
                <c:pt idx="11">
                  <c:v>1.5976135233669999</c:v>
                </c:pt>
                <c:pt idx="12">
                  <c:v>1.300074645434</c:v>
                </c:pt>
                <c:pt idx="13">
                  <c:v>1.0847413056340001</c:v>
                </c:pt>
                <c:pt idx="14">
                  <c:v>0.47546479731699998</c:v>
                </c:pt>
                <c:pt idx="15">
                  <c:v>0.37240022484500002</c:v>
                </c:pt>
                <c:pt idx="16">
                  <c:v>0.295790671216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Zlínský kraj</c:v>
                </c:pt>
                <c:pt idx="2">
                  <c:v>Pardubic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Karlovar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7.16879386499701</c:v>
                </c:pt>
                <c:pt idx="1">
                  <c:v>159.246459307447</c:v>
                </c:pt>
                <c:pt idx="2">
                  <c:v>151.51515151515099</c:v>
                </c:pt>
                <c:pt idx="3">
                  <c:v>173.29867359861299</c:v>
                </c:pt>
                <c:pt idx="4">
                  <c:v>69.044879171461005</c:v>
                </c:pt>
                <c:pt idx="5">
                  <c:v>255.30651625352499</c:v>
                </c:pt>
                <c:pt idx="6">
                  <c:v>158.127990240841</c:v>
                </c:pt>
                <c:pt idx="7">
                  <c:v>125.390277237902</c:v>
                </c:pt>
                <c:pt idx="8">
                  <c:v>124.01517362124299</c:v>
                </c:pt>
                <c:pt idx="9">
                  <c:v>244.75610054580599</c:v>
                </c:pt>
                <c:pt idx="10">
                  <c:v>139.69436566058499</c:v>
                </c:pt>
                <c:pt idx="11">
                  <c:v>50.168422561455998</c:v>
                </c:pt>
                <c:pt idx="12">
                  <c:v>224.08126680609499</c:v>
                </c:pt>
                <c:pt idx="13">
                  <c:v>152.87311531428901</c:v>
                </c:pt>
                <c:pt idx="14">
                  <c:v>167.85180211798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Zlínský kraj</c:v>
                </c:pt>
                <c:pt idx="2">
                  <c:v>Pardubic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Karlovar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75.874590141721995</c:v>
                </c:pt>
                <c:pt idx="1">
                  <c:v>155.85823676899</c:v>
                </c:pt>
                <c:pt idx="2">
                  <c:v>72.150072150072006</c:v>
                </c:pt>
                <c:pt idx="3">
                  <c:v>111.644337799106</c:v>
                </c:pt>
                <c:pt idx="4">
                  <c:v>55.893473614991997</c:v>
                </c:pt>
                <c:pt idx="5">
                  <c:v>145.46534065607801</c:v>
                </c:pt>
                <c:pt idx="6">
                  <c:v>94.841537067527</c:v>
                </c:pt>
                <c:pt idx="7">
                  <c:v>82.757582977015005</c:v>
                </c:pt>
                <c:pt idx="8">
                  <c:v>14.590020426028</c:v>
                </c:pt>
                <c:pt idx="9">
                  <c:v>163.98658736569001</c:v>
                </c:pt>
                <c:pt idx="10">
                  <c:v>42.331625957752998</c:v>
                </c:pt>
                <c:pt idx="11">
                  <c:v>50.168422561455998</c:v>
                </c:pt>
                <c:pt idx="12">
                  <c:v>134.44876008365699</c:v>
                </c:pt>
                <c:pt idx="13">
                  <c:v>91.424117982073994</c:v>
                </c:pt>
                <c:pt idx="14">
                  <c:v>82.399975585191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Zlínský kraj</c:v>
                </c:pt>
                <c:pt idx="2">
                  <c:v>Pardubic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Karlovar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4.0647101861630004</c:v>
                </c:pt>
                <c:pt idx="1">
                  <c:v>13.552890153825</c:v>
                </c:pt>
                <c:pt idx="2">
                  <c:v>3.6075036075029998</c:v>
                </c:pt>
                <c:pt idx="3">
                  <c:v>6.6653335999459999</c:v>
                </c:pt>
                <c:pt idx="4">
                  <c:v>6.5757027782339996</c:v>
                </c:pt>
                <c:pt idx="5">
                  <c:v>5.937360843105</c:v>
                </c:pt>
                <c:pt idx="6">
                  <c:v>7.2277007802390001</c:v>
                </c:pt>
                <c:pt idx="7">
                  <c:v>11.285124951410999</c:v>
                </c:pt>
                <c:pt idx="8">
                  <c:v>0</c:v>
                </c:pt>
                <c:pt idx="9">
                  <c:v>2.4475610054580001</c:v>
                </c:pt>
                <c:pt idx="10">
                  <c:v>12.699487787324999</c:v>
                </c:pt>
                <c:pt idx="11">
                  <c:v>3.583458754389</c:v>
                </c:pt>
                <c:pt idx="12">
                  <c:v>18.673438900507001</c:v>
                </c:pt>
                <c:pt idx="13">
                  <c:v>8.9925361949579994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Zlínský kraj</c:v>
                </c:pt>
                <c:pt idx="2">
                  <c:v>Pardubic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Karlovar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.839227163103001</c:v>
                </c:pt>
                <c:pt idx="1">
                  <c:v>6.7764450769120002</c:v>
                </c:pt>
                <c:pt idx="2">
                  <c:v>3.6075036075029998</c:v>
                </c:pt>
                <c:pt idx="3">
                  <c:v>3.332666799973</c:v>
                </c:pt>
                <c:pt idx="4">
                  <c:v>3.2878513891169998</c:v>
                </c:pt>
                <c:pt idx="5">
                  <c:v>2.968680421552</c:v>
                </c:pt>
                <c:pt idx="6">
                  <c:v>2.8205661581419998</c:v>
                </c:pt>
                <c:pt idx="7">
                  <c:v>1.2539027723789999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Středočeský kraj</c:v>
                </c:pt>
                <c:pt idx="1">
                  <c:v>Jihomoravský kraj</c:v>
                </c:pt>
                <c:pt idx="2">
                  <c:v>Hlavní město Praha</c:v>
                </c:pt>
                <c:pt idx="3">
                  <c:v>Kraj Vysočina</c:v>
                </c:pt>
                <c:pt idx="4">
                  <c:v>Ústecký kraj</c:v>
                </c:pt>
                <c:pt idx="5">
                  <c:v>Moravskoslezský kraj</c:v>
                </c:pt>
                <c:pt idx="6">
                  <c:v>Olomoucký kraj</c:v>
                </c:pt>
                <c:pt idx="7">
                  <c:v>Zlínský kraj</c:v>
                </c:pt>
                <c:pt idx="8">
                  <c:v>Liberecký kraj</c:v>
                </c:pt>
                <c:pt idx="9">
                  <c:v>Jihočeský kraj</c:v>
                </c:pt>
                <c:pt idx="10">
                  <c:v>Plzeňský kraj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65</c:v>
                </c:pt>
                <c:pt idx="1">
                  <c:v>578</c:v>
                </c:pt>
                <c:pt idx="2">
                  <c:v>435</c:v>
                </c:pt>
                <c:pt idx="3">
                  <c:v>435</c:v>
                </c:pt>
                <c:pt idx="4">
                  <c:v>414</c:v>
                </c:pt>
                <c:pt idx="5">
                  <c:v>405</c:v>
                </c:pt>
                <c:pt idx="6">
                  <c:v>402</c:v>
                </c:pt>
                <c:pt idx="7">
                  <c:v>391</c:v>
                </c:pt>
                <c:pt idx="8">
                  <c:v>318</c:v>
                </c:pt>
                <c:pt idx="9">
                  <c:v>306</c:v>
                </c:pt>
                <c:pt idx="10">
                  <c:v>248</c:v>
                </c:pt>
                <c:pt idx="11">
                  <c:v>188</c:v>
                </c:pt>
                <c:pt idx="12">
                  <c:v>161</c:v>
                </c:pt>
                <c:pt idx="13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Zlínský kraj</c:v>
                </c:pt>
                <c:pt idx="2">
                  <c:v>Pardubický kraj</c:v>
                </c:pt>
                <c:pt idx="3">
                  <c:v>Moravskoslezský kraj</c:v>
                </c:pt>
                <c:pt idx="4">
                  <c:v>Plzeňs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Středočeský kraj</c:v>
                </c:pt>
                <c:pt idx="8">
                  <c:v>Karlovarský kraj</c:v>
                </c:pt>
                <c:pt idx="9">
                  <c:v>Ústecký kraj</c:v>
                </c:pt>
                <c:pt idx="10">
                  <c:v>Liberecký kraj</c:v>
                </c:pt>
                <c:pt idx="11">
                  <c:v>Královéhradecký kraj</c:v>
                </c:pt>
                <c:pt idx="12">
                  <c:v>Kraj Vysočina</c:v>
                </c:pt>
                <c:pt idx="13">
                  <c:v>Jihomorav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.839227163103001</c:v>
                </c:pt>
                <c:pt idx="1">
                  <c:v>6.7764450769120002</c:v>
                </c:pt>
                <c:pt idx="2">
                  <c:v>3.6075036075029998</c:v>
                </c:pt>
                <c:pt idx="3">
                  <c:v>3.332666799973</c:v>
                </c:pt>
                <c:pt idx="4">
                  <c:v>3.2878513891169998</c:v>
                </c:pt>
                <c:pt idx="5">
                  <c:v>2.968680421552</c:v>
                </c:pt>
                <c:pt idx="6">
                  <c:v>2.8205661581419998</c:v>
                </c:pt>
                <c:pt idx="7">
                  <c:v>1.2539027723789999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ČR</c:v>
                </c:pt>
                <c:pt idx="4">
                  <c:v>Karlovarský kraj</c:v>
                </c:pt>
                <c:pt idx="5">
                  <c:v>Plzeňský kraj</c:v>
                </c:pt>
                <c:pt idx="6">
                  <c:v>Jihočeský kraj</c:v>
                </c:pt>
                <c:pt idx="7">
                  <c:v>Jihomoravský kraj</c:v>
                </c:pt>
                <c:pt idx="8">
                  <c:v>Libere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Úst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1.748909029875</c:v>
                </c:pt>
                <c:pt idx="1">
                  <c:v>10.639303953092</c:v>
                </c:pt>
                <c:pt idx="2">
                  <c:v>10.040059838755999</c:v>
                </c:pt>
                <c:pt idx="3">
                  <c:v>5.6261041229339996</c:v>
                </c:pt>
                <c:pt idx="4">
                  <c:v>4.8290515742700002</c:v>
                </c:pt>
                <c:pt idx="5">
                  <c:v>4.6857062530739997</c:v>
                </c:pt>
                <c:pt idx="6">
                  <c:v>4.2092856842190001</c:v>
                </c:pt>
                <c:pt idx="7">
                  <c:v>3.362135628551</c:v>
                </c:pt>
                <c:pt idx="8">
                  <c:v>2.9560436312029998</c:v>
                </c:pt>
                <c:pt idx="9">
                  <c:v>2.7402515550920001</c:v>
                </c:pt>
                <c:pt idx="10">
                  <c:v>2.4624476729859999</c:v>
                </c:pt>
                <c:pt idx="11">
                  <c:v>2.187083087286000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ČR</c:v>
                </c:pt>
                <c:pt idx="4">
                  <c:v>Karlovarský kraj</c:v>
                </c:pt>
                <c:pt idx="5">
                  <c:v>Plzeňský kraj</c:v>
                </c:pt>
                <c:pt idx="6">
                  <c:v>Jihočeský kraj</c:v>
                </c:pt>
                <c:pt idx="7">
                  <c:v>Jihomoravský kraj</c:v>
                </c:pt>
                <c:pt idx="8">
                  <c:v>Libere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Úst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93.01779120510199</c:v>
                </c:pt>
                <c:pt idx="1">
                  <c:v>235.24683185171099</c:v>
                </c:pt>
                <c:pt idx="2">
                  <c:v>159.63695143622999</c:v>
                </c:pt>
                <c:pt idx="3">
                  <c:v>225.91933666982101</c:v>
                </c:pt>
                <c:pt idx="4">
                  <c:v>96.581031485416005</c:v>
                </c:pt>
                <c:pt idx="5">
                  <c:v>156.971159478012</c:v>
                </c:pt>
                <c:pt idx="6">
                  <c:v>345.16142610598899</c:v>
                </c:pt>
                <c:pt idx="7">
                  <c:v>209.57312084636101</c:v>
                </c:pt>
                <c:pt idx="8">
                  <c:v>224.65931597150299</c:v>
                </c:pt>
                <c:pt idx="9">
                  <c:v>350.75219905187203</c:v>
                </c:pt>
                <c:pt idx="10">
                  <c:v>312.73085446934198</c:v>
                </c:pt>
                <c:pt idx="11">
                  <c:v>251.514555037945</c:v>
                </c:pt>
                <c:pt idx="12">
                  <c:v>100.411687920473</c:v>
                </c:pt>
                <c:pt idx="13">
                  <c:v>346.94353105662401</c:v>
                </c:pt>
                <c:pt idx="14">
                  <c:v>262.89147970347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ČR</c:v>
                </c:pt>
                <c:pt idx="4">
                  <c:v>Karlovarský kraj</c:v>
                </c:pt>
                <c:pt idx="5">
                  <c:v>Plzeňský kraj</c:v>
                </c:pt>
                <c:pt idx="6">
                  <c:v>Jihočeský kraj</c:v>
                </c:pt>
                <c:pt idx="7">
                  <c:v>Jihomoravský kraj</c:v>
                </c:pt>
                <c:pt idx="8">
                  <c:v>Libere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Úst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25.88116817724</c:v>
                </c:pt>
                <c:pt idx="1">
                  <c:v>189.14318138831001</c:v>
                </c:pt>
                <c:pt idx="2">
                  <c:v>117.468700113452</c:v>
                </c:pt>
                <c:pt idx="3">
                  <c:v>146.903829876613</c:v>
                </c:pt>
                <c:pt idx="4">
                  <c:v>24.145257871354001</c:v>
                </c:pt>
                <c:pt idx="5">
                  <c:v>74.971300049199002</c:v>
                </c:pt>
                <c:pt idx="6">
                  <c:v>212.56892705307899</c:v>
                </c:pt>
                <c:pt idx="7">
                  <c:v>187.15888332268599</c:v>
                </c:pt>
                <c:pt idx="8">
                  <c:v>94.593396198527003</c:v>
                </c:pt>
                <c:pt idx="9">
                  <c:v>189.07735730140001</c:v>
                </c:pt>
                <c:pt idx="10">
                  <c:v>216.695395222851</c:v>
                </c:pt>
                <c:pt idx="11">
                  <c:v>131.224985237189</c:v>
                </c:pt>
                <c:pt idx="12">
                  <c:v>47.695551762225001</c:v>
                </c:pt>
                <c:pt idx="13">
                  <c:v>150.169588069285</c:v>
                </c:pt>
                <c:pt idx="14">
                  <c:v>191.04536102674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ČR</c:v>
                </c:pt>
                <c:pt idx="4">
                  <c:v>Karlovarský kraj</c:v>
                </c:pt>
                <c:pt idx="5">
                  <c:v>Plzeňský kraj</c:v>
                </c:pt>
                <c:pt idx="6">
                  <c:v>Jihočeský kraj</c:v>
                </c:pt>
                <c:pt idx="7">
                  <c:v>Jihomoravský kraj</c:v>
                </c:pt>
                <c:pt idx="8">
                  <c:v>Libere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Úst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8.3920778784820005</c:v>
                </c:pt>
                <c:pt idx="1">
                  <c:v>22.460752789861001</c:v>
                </c:pt>
                <c:pt idx="2">
                  <c:v>15.060089758134</c:v>
                </c:pt>
                <c:pt idx="3">
                  <c:v>15.503042472084999</c:v>
                </c:pt>
                <c:pt idx="4">
                  <c:v>9.6581031485410005</c:v>
                </c:pt>
                <c:pt idx="5">
                  <c:v>11.714265632687001</c:v>
                </c:pt>
                <c:pt idx="6">
                  <c:v>31.569642631644999</c:v>
                </c:pt>
                <c:pt idx="7">
                  <c:v>10.086406885653</c:v>
                </c:pt>
                <c:pt idx="8">
                  <c:v>17.736261787223</c:v>
                </c:pt>
                <c:pt idx="9">
                  <c:v>5.4805031101850004</c:v>
                </c:pt>
                <c:pt idx="10">
                  <c:v>36.936715094804001</c:v>
                </c:pt>
                <c:pt idx="11">
                  <c:v>24.057913960151001</c:v>
                </c:pt>
                <c:pt idx="12">
                  <c:v>2.5102921980109998</c:v>
                </c:pt>
                <c:pt idx="13">
                  <c:v>15.534784972683999</c:v>
                </c:pt>
                <c:pt idx="14">
                  <c:v>13.062930668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ČR</c:v>
                </c:pt>
                <c:pt idx="4">
                  <c:v>Karlovarský kraj</c:v>
                </c:pt>
                <c:pt idx="5">
                  <c:v>Plzeňský kraj</c:v>
                </c:pt>
                <c:pt idx="6">
                  <c:v>Jihočeský kraj</c:v>
                </c:pt>
                <c:pt idx="7">
                  <c:v>Jihomoravský kraj</c:v>
                </c:pt>
                <c:pt idx="8">
                  <c:v>Liberecký kraj</c:v>
                </c:pt>
                <c:pt idx="9">
                  <c:v>Kraj Vysočina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Úst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1.748909029875</c:v>
                </c:pt>
                <c:pt idx="1">
                  <c:v>10.639303953092</c:v>
                </c:pt>
                <c:pt idx="2">
                  <c:v>10.040059838755999</c:v>
                </c:pt>
                <c:pt idx="3">
                  <c:v>5.6261041229339996</c:v>
                </c:pt>
                <c:pt idx="4">
                  <c:v>4.8290515742700002</c:v>
                </c:pt>
                <c:pt idx="5">
                  <c:v>4.6857062530739997</c:v>
                </c:pt>
                <c:pt idx="6">
                  <c:v>4.2092856842190001</c:v>
                </c:pt>
                <c:pt idx="7">
                  <c:v>3.362135628551</c:v>
                </c:pt>
                <c:pt idx="8">
                  <c:v>2.9560436312029998</c:v>
                </c:pt>
                <c:pt idx="9">
                  <c:v>2.7402515550920001</c:v>
                </c:pt>
                <c:pt idx="10">
                  <c:v>2.4624476729859999</c:v>
                </c:pt>
                <c:pt idx="11">
                  <c:v>2.187083087286000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Moravskoslezský kraj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Ústec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Olomou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58.923018167930003</c:v>
                </c:pt>
                <c:pt idx="1">
                  <c:v>48.232921161097003</c:v>
                </c:pt>
                <c:pt idx="2">
                  <c:v>44.242893485232997</c:v>
                </c:pt>
                <c:pt idx="3">
                  <c:v>28.078176450067001</c:v>
                </c:pt>
                <c:pt idx="4">
                  <c:v>24.287386014881001</c:v>
                </c:pt>
                <c:pt idx="5">
                  <c:v>21.112911375589</c:v>
                </c:pt>
                <c:pt idx="6">
                  <c:v>14.416838867797001</c:v>
                </c:pt>
                <c:pt idx="7">
                  <c:v>13.647434282354</c:v>
                </c:pt>
                <c:pt idx="8">
                  <c:v>11.096562285004</c:v>
                </c:pt>
                <c:pt idx="9">
                  <c:v>8.3762616744139997</c:v>
                </c:pt>
                <c:pt idx="10">
                  <c:v>5.8420314690759998</c:v>
                </c:pt>
                <c:pt idx="11">
                  <c:v>5.7102885123269997</c:v>
                </c:pt>
                <c:pt idx="12">
                  <c:v>4.948045522018</c:v>
                </c:pt>
                <c:pt idx="13">
                  <c:v>2.267985122017</c:v>
                </c:pt>
                <c:pt idx="14">
                  <c:v>1.997483171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Moravskoslezský kraj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Ústec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00.77472857220701</c:v>
                </c:pt>
                <c:pt idx="1">
                  <c:v>197.316495659037</c:v>
                </c:pt>
                <c:pt idx="2">
                  <c:v>345.64760535339002</c:v>
                </c:pt>
                <c:pt idx="3">
                  <c:v>266.31724935973199</c:v>
                </c:pt>
                <c:pt idx="4">
                  <c:v>357.68695767371003</c:v>
                </c:pt>
                <c:pt idx="5">
                  <c:v>289.41294245189601</c:v>
                </c:pt>
                <c:pt idx="6">
                  <c:v>394.060262386467</c:v>
                </c:pt>
                <c:pt idx="7">
                  <c:v>293.94473838918202</c:v>
                </c:pt>
                <c:pt idx="8">
                  <c:v>250.78230764109199</c:v>
                </c:pt>
                <c:pt idx="9">
                  <c:v>129.83205595342699</c:v>
                </c:pt>
                <c:pt idx="10">
                  <c:v>368.04798255179901</c:v>
                </c:pt>
                <c:pt idx="11">
                  <c:v>362.60332053276898</c:v>
                </c:pt>
                <c:pt idx="12">
                  <c:v>452.74616526471999</c:v>
                </c:pt>
                <c:pt idx="13">
                  <c:v>161.026943663249</c:v>
                </c:pt>
                <c:pt idx="14">
                  <c:v>335.57717276231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Moravskoslezský kraj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Ústec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Olomou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06.93436630476199</c:v>
                </c:pt>
                <c:pt idx="1">
                  <c:v>98.658247829518004</c:v>
                </c:pt>
                <c:pt idx="2">
                  <c:v>116.13759539873899</c:v>
                </c:pt>
                <c:pt idx="3">
                  <c:v>123.373805613933</c:v>
                </c:pt>
                <c:pt idx="4">
                  <c:v>223.00236250027501</c:v>
                </c:pt>
                <c:pt idx="5">
                  <c:v>148.620662660748</c:v>
                </c:pt>
                <c:pt idx="6">
                  <c:v>153.77961458984001</c:v>
                </c:pt>
                <c:pt idx="7">
                  <c:v>149.071974468799</c:v>
                </c:pt>
                <c:pt idx="8">
                  <c:v>175.32568410306399</c:v>
                </c:pt>
                <c:pt idx="9">
                  <c:v>62.821962558110002</c:v>
                </c:pt>
                <c:pt idx="10">
                  <c:v>200.57641377161499</c:v>
                </c:pt>
                <c:pt idx="11">
                  <c:v>209.85310282802001</c:v>
                </c:pt>
                <c:pt idx="12">
                  <c:v>239.98020781791101</c:v>
                </c:pt>
                <c:pt idx="13">
                  <c:v>40.823732196316001</c:v>
                </c:pt>
                <c:pt idx="14">
                  <c:v>155.80368735393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Moravskoslezský kraj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Ústec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Olomou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8.370342080855</c:v>
                </c:pt>
                <c:pt idx="1">
                  <c:v>70.156976234324006</c:v>
                </c:pt>
                <c:pt idx="2">
                  <c:v>74.659882756331996</c:v>
                </c:pt>
                <c:pt idx="3">
                  <c:v>22.973053459146001</c:v>
                </c:pt>
                <c:pt idx="4">
                  <c:v>26.495330198051999</c:v>
                </c:pt>
                <c:pt idx="5">
                  <c:v>31.669367063383</c:v>
                </c:pt>
                <c:pt idx="6">
                  <c:v>16.819645345763</c:v>
                </c:pt>
                <c:pt idx="7">
                  <c:v>38.842697572855997</c:v>
                </c:pt>
                <c:pt idx="8">
                  <c:v>31.070374398011001</c:v>
                </c:pt>
                <c:pt idx="9">
                  <c:v>16.752523348829001</c:v>
                </c:pt>
                <c:pt idx="10">
                  <c:v>58.420314690761003</c:v>
                </c:pt>
                <c:pt idx="11">
                  <c:v>21.413581921226001</c:v>
                </c:pt>
                <c:pt idx="12">
                  <c:v>17.318159327065</c:v>
                </c:pt>
                <c:pt idx="13">
                  <c:v>6.8039553660519996</c:v>
                </c:pt>
                <c:pt idx="14">
                  <c:v>23.96979805445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lzeň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Pardubický kraj</c:v>
                </c:pt>
                <c:pt idx="7">
                  <c:v>Moravskoslezský kraj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Jihočeský kraj</c:v>
                </c:pt>
                <c:pt idx="11">
                  <c:v>Ústec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Olomou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58.923018167930003</c:v>
                </c:pt>
                <c:pt idx="1">
                  <c:v>48.232921161097003</c:v>
                </c:pt>
                <c:pt idx="2">
                  <c:v>44.242893485232997</c:v>
                </c:pt>
                <c:pt idx="3">
                  <c:v>28.078176450067001</c:v>
                </c:pt>
                <c:pt idx="4">
                  <c:v>24.287386014881001</c:v>
                </c:pt>
                <c:pt idx="5">
                  <c:v>21.112911375589</c:v>
                </c:pt>
                <c:pt idx="6">
                  <c:v>14.416838867797001</c:v>
                </c:pt>
                <c:pt idx="7">
                  <c:v>13.647434282354</c:v>
                </c:pt>
                <c:pt idx="8">
                  <c:v>11.096562285004</c:v>
                </c:pt>
                <c:pt idx="9">
                  <c:v>8.3762616744139997</c:v>
                </c:pt>
                <c:pt idx="10">
                  <c:v>5.8420314690759998</c:v>
                </c:pt>
                <c:pt idx="11">
                  <c:v>5.7102885123269997</c:v>
                </c:pt>
                <c:pt idx="12">
                  <c:v>4.948045522018</c:v>
                </c:pt>
                <c:pt idx="13">
                  <c:v>2.267985122017</c:v>
                </c:pt>
                <c:pt idx="14">
                  <c:v>1.997483171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Zlín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arlovarský kraj</c:v>
                </c:pt>
                <c:pt idx="8">
                  <c:v>Pardubický kraj</c:v>
                </c:pt>
                <c:pt idx="9">
                  <c:v>Jihomorav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Úst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48.245085031961999</c:v>
                </c:pt>
                <c:pt idx="1">
                  <c:v>32.965221691114998</c:v>
                </c:pt>
                <c:pt idx="2">
                  <c:v>25.795186221401998</c:v>
                </c:pt>
                <c:pt idx="3">
                  <c:v>23.040766796718</c:v>
                </c:pt>
                <c:pt idx="4">
                  <c:v>20.490753547461001</c:v>
                </c:pt>
                <c:pt idx="5">
                  <c:v>17.664723547076001</c:v>
                </c:pt>
                <c:pt idx="6">
                  <c:v>15.772594241249999</c:v>
                </c:pt>
                <c:pt idx="7">
                  <c:v>15.428527347064</c:v>
                </c:pt>
                <c:pt idx="8">
                  <c:v>8.9521507542179997</c:v>
                </c:pt>
                <c:pt idx="9">
                  <c:v>8.2324853873380004</c:v>
                </c:pt>
                <c:pt idx="10">
                  <c:v>7.2469019494160003</c:v>
                </c:pt>
                <c:pt idx="11">
                  <c:v>4.6474880327179999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Zlín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arlovarský kraj</c:v>
                </c:pt>
                <c:pt idx="8">
                  <c:v>Pardubický kraj</c:v>
                </c:pt>
                <c:pt idx="9">
                  <c:v>Jihomorav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Úst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84.93949262252201</c:v>
                </c:pt>
                <c:pt idx="1">
                  <c:v>288.44568979726301</c:v>
                </c:pt>
                <c:pt idx="2">
                  <c:v>208.34573486516999</c:v>
                </c:pt>
                <c:pt idx="3">
                  <c:v>244.232128045221</c:v>
                </c:pt>
                <c:pt idx="4">
                  <c:v>358.58818708057902</c:v>
                </c:pt>
                <c:pt idx="5">
                  <c:v>280.67282969243701</c:v>
                </c:pt>
                <c:pt idx="6">
                  <c:v>274.48695255954101</c:v>
                </c:pt>
                <c:pt idx="7">
                  <c:v>84.856900408854997</c:v>
                </c:pt>
                <c:pt idx="8">
                  <c:v>335.705653283201</c:v>
                </c:pt>
                <c:pt idx="9">
                  <c:v>226.393348151807</c:v>
                </c:pt>
                <c:pt idx="10">
                  <c:v>373.21545039495601</c:v>
                </c:pt>
                <c:pt idx="11">
                  <c:v>460.10131523911298</c:v>
                </c:pt>
                <c:pt idx="12">
                  <c:v>167.73598356187301</c:v>
                </c:pt>
                <c:pt idx="13">
                  <c:v>334.22459893048102</c:v>
                </c:pt>
                <c:pt idx="14">
                  <c:v>351.101180976699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Zlín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arlovarský kraj</c:v>
                </c:pt>
                <c:pt idx="8">
                  <c:v>Pardubický kraj</c:v>
                </c:pt>
                <c:pt idx="9">
                  <c:v>Jihomorav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Úst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88.449322558597004</c:v>
                </c:pt>
                <c:pt idx="1">
                  <c:v>230.756551837811</c:v>
                </c:pt>
                <c:pt idx="2">
                  <c:v>117.070460543286</c:v>
                </c:pt>
                <c:pt idx="3">
                  <c:v>122.88408958250101</c:v>
                </c:pt>
                <c:pt idx="4">
                  <c:v>122.94452128477</c:v>
                </c:pt>
                <c:pt idx="5">
                  <c:v>151.13152368054301</c:v>
                </c:pt>
                <c:pt idx="6">
                  <c:v>150.715900527505</c:v>
                </c:pt>
                <c:pt idx="7">
                  <c:v>53.999845714726</c:v>
                </c:pt>
                <c:pt idx="8">
                  <c:v>147.71048744460799</c:v>
                </c:pt>
                <c:pt idx="9">
                  <c:v>154.359101012595</c:v>
                </c:pt>
                <c:pt idx="10">
                  <c:v>239.147764330748</c:v>
                </c:pt>
                <c:pt idx="11">
                  <c:v>264.90681786494298</c:v>
                </c:pt>
                <c:pt idx="12">
                  <c:v>33.547196712374003</c:v>
                </c:pt>
                <c:pt idx="13">
                  <c:v>159.68508615567401</c:v>
                </c:pt>
                <c:pt idx="14">
                  <c:v>215.44845196297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Zlín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arlovarský kraj</c:v>
                </c:pt>
                <c:pt idx="8">
                  <c:v>Pardubický kraj</c:v>
                </c:pt>
                <c:pt idx="9">
                  <c:v>Jihomorav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Úst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56.285932537289</c:v>
                </c:pt>
                <c:pt idx="1">
                  <c:v>24.723916268336001</c:v>
                </c:pt>
                <c:pt idx="2">
                  <c:v>23.810941127448</c:v>
                </c:pt>
                <c:pt idx="3">
                  <c:v>19.968664557156</c:v>
                </c:pt>
                <c:pt idx="4">
                  <c:v>15.368065160596</c:v>
                </c:pt>
                <c:pt idx="5">
                  <c:v>33.366700033366001</c:v>
                </c:pt>
                <c:pt idx="6">
                  <c:v>24.754210406407001</c:v>
                </c:pt>
                <c:pt idx="7">
                  <c:v>23.142791020596999</c:v>
                </c:pt>
                <c:pt idx="8">
                  <c:v>13.428226131328</c:v>
                </c:pt>
                <c:pt idx="9">
                  <c:v>18.523092121510999</c:v>
                </c:pt>
                <c:pt idx="10">
                  <c:v>43.481411696499002</c:v>
                </c:pt>
                <c:pt idx="11">
                  <c:v>4.6474880327179999</c:v>
                </c:pt>
                <c:pt idx="12">
                  <c:v>0</c:v>
                </c:pt>
                <c:pt idx="13">
                  <c:v>37.136066547831</c:v>
                </c:pt>
                <c:pt idx="14">
                  <c:v>26.598574316415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Zlínský kraj</c:v>
                </c:pt>
                <c:pt idx="2">
                  <c:v>Hlavní město Prah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Karlovarský kraj</c:v>
                </c:pt>
                <c:pt idx="8">
                  <c:v>Pardubický kraj</c:v>
                </c:pt>
                <c:pt idx="9">
                  <c:v>Jihomoravský kraj</c:v>
                </c:pt>
                <c:pt idx="10">
                  <c:v>Jih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Úst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48.245085031961999</c:v>
                </c:pt>
                <c:pt idx="1">
                  <c:v>32.965221691114998</c:v>
                </c:pt>
                <c:pt idx="2">
                  <c:v>25.795186221401998</c:v>
                </c:pt>
                <c:pt idx="3">
                  <c:v>23.040766796718</c:v>
                </c:pt>
                <c:pt idx="4">
                  <c:v>20.490753547461001</c:v>
                </c:pt>
                <c:pt idx="5">
                  <c:v>17.664723547076001</c:v>
                </c:pt>
                <c:pt idx="6">
                  <c:v>15.772594241249999</c:v>
                </c:pt>
                <c:pt idx="7">
                  <c:v>15.428527347064</c:v>
                </c:pt>
                <c:pt idx="8">
                  <c:v>8.9521507542179997</c:v>
                </c:pt>
                <c:pt idx="9">
                  <c:v>8.2324853873380004</c:v>
                </c:pt>
                <c:pt idx="10">
                  <c:v>7.2469019494160003</c:v>
                </c:pt>
                <c:pt idx="11">
                  <c:v>4.6474880327179999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Středočeský kraj</c:v>
                </c:pt>
                <c:pt idx="4">
                  <c:v>ČR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Zlínský kraj</c:v>
                </c:pt>
                <c:pt idx="8">
                  <c:v>Ústecký kraj</c:v>
                </c:pt>
                <c:pt idx="9">
                  <c:v>Moravskoslezský kraj</c:v>
                </c:pt>
                <c:pt idx="10">
                  <c:v>Kraj Vysočin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91.52443754848699</c:v>
                </c:pt>
                <c:pt idx="1">
                  <c:v>330.46926635822803</c:v>
                </c:pt>
                <c:pt idx="2">
                  <c:v>212.16066348425599</c:v>
                </c:pt>
                <c:pt idx="3">
                  <c:v>293.741774276613</c:v>
                </c:pt>
                <c:pt idx="4">
                  <c:v>307.03728420736701</c:v>
                </c:pt>
                <c:pt idx="5">
                  <c:v>461.69009700679499</c:v>
                </c:pt>
                <c:pt idx="6">
                  <c:v>279.31615699494301</c:v>
                </c:pt>
                <c:pt idx="7">
                  <c:v>437.61594444180099</c:v>
                </c:pt>
                <c:pt idx="8">
                  <c:v>375.92826549163402</c:v>
                </c:pt>
                <c:pt idx="9">
                  <c:v>309.20622023608001</c:v>
                </c:pt>
                <c:pt idx="10">
                  <c:v>444.37390890334802</c:v>
                </c:pt>
                <c:pt idx="11">
                  <c:v>153.12422820449399</c:v>
                </c:pt>
                <c:pt idx="12">
                  <c:v>337.15150205316598</c:v>
                </c:pt>
                <c:pt idx="13">
                  <c:v>362.04428727793203</c:v>
                </c:pt>
                <c:pt idx="14">
                  <c:v>183.25087044163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Středočeský kraj</c:v>
                </c:pt>
                <c:pt idx="4">
                  <c:v>ČR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Zlínský kraj</c:v>
                </c:pt>
                <c:pt idx="8">
                  <c:v>Ústecký kraj</c:v>
                </c:pt>
                <c:pt idx="9">
                  <c:v>Moravskoslezský kraj</c:v>
                </c:pt>
                <c:pt idx="10">
                  <c:v>Kraj Vysočin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94.550038789759</c:v>
                </c:pt>
                <c:pt idx="1">
                  <c:v>108.153578080874</c:v>
                </c:pt>
                <c:pt idx="2">
                  <c:v>110.902165003134</c:v>
                </c:pt>
                <c:pt idx="3">
                  <c:v>123.98191771415399</c:v>
                </c:pt>
                <c:pt idx="4">
                  <c:v>146.14664328320299</c:v>
                </c:pt>
                <c:pt idx="5">
                  <c:v>160.8134045754</c:v>
                </c:pt>
                <c:pt idx="6">
                  <c:v>199.85552612569199</c:v>
                </c:pt>
                <c:pt idx="7">
                  <c:v>214.05127717261999</c:v>
                </c:pt>
                <c:pt idx="8">
                  <c:v>203.371028872523</c:v>
                </c:pt>
                <c:pt idx="9">
                  <c:v>146.703681133906</c:v>
                </c:pt>
                <c:pt idx="10">
                  <c:v>211.606623287308</c:v>
                </c:pt>
                <c:pt idx="11">
                  <c:v>49.394912324030003</c:v>
                </c:pt>
                <c:pt idx="12">
                  <c:v>151.28593040847201</c:v>
                </c:pt>
                <c:pt idx="13">
                  <c:v>155.76323987538899</c:v>
                </c:pt>
                <c:pt idx="14">
                  <c:v>73.300348176653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Středočeský kraj</c:v>
                </c:pt>
                <c:pt idx="4">
                  <c:v>ČR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Zlínský kraj</c:v>
                </c:pt>
                <c:pt idx="8">
                  <c:v>Ústecký kraj</c:v>
                </c:pt>
                <c:pt idx="9">
                  <c:v>Moravskoslezský kraj</c:v>
                </c:pt>
                <c:pt idx="10">
                  <c:v>Kraj Vysočin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33.941039565554</c:v>
                </c:pt>
                <c:pt idx="1">
                  <c:v>144.204770774499</c:v>
                </c:pt>
                <c:pt idx="2">
                  <c:v>86.792998698104995</c:v>
                </c:pt>
                <c:pt idx="3">
                  <c:v>26.703797661509999</c:v>
                </c:pt>
                <c:pt idx="4">
                  <c:v>39.834660293120997</c:v>
                </c:pt>
                <c:pt idx="5">
                  <c:v>20.750116719406002</c:v>
                </c:pt>
                <c:pt idx="6">
                  <c:v>45.750060197446999</c:v>
                </c:pt>
                <c:pt idx="7">
                  <c:v>28.540170289681999</c:v>
                </c:pt>
                <c:pt idx="8">
                  <c:v>15.406896126706</c:v>
                </c:pt>
                <c:pt idx="9">
                  <c:v>45.139594195047998</c:v>
                </c:pt>
                <c:pt idx="10">
                  <c:v>31.740993493095999</c:v>
                </c:pt>
                <c:pt idx="11">
                  <c:v>14.818473697209001</c:v>
                </c:pt>
                <c:pt idx="12">
                  <c:v>8.6449103090549997</c:v>
                </c:pt>
                <c:pt idx="13">
                  <c:v>75.776711290728997</c:v>
                </c:pt>
                <c:pt idx="14">
                  <c:v>9.162543522081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Středočeský kraj</c:v>
                </c:pt>
                <c:pt idx="4">
                  <c:v>ČR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Zlínský kraj</c:v>
                </c:pt>
                <c:pt idx="8">
                  <c:v>Ústecký kraj</c:v>
                </c:pt>
                <c:pt idx="9">
                  <c:v>Moravskoslezský kraj</c:v>
                </c:pt>
                <c:pt idx="10">
                  <c:v>Kraj Vysočin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9.398758727694997</c:v>
                </c:pt>
                <c:pt idx="1">
                  <c:v>72.102385387249001</c:v>
                </c:pt>
                <c:pt idx="2">
                  <c:v>48.218332610057999</c:v>
                </c:pt>
                <c:pt idx="3">
                  <c:v>34.333454136226997</c:v>
                </c:pt>
                <c:pt idx="4">
                  <c:v>27.418662279679999</c:v>
                </c:pt>
                <c:pt idx="5">
                  <c:v>20.750116719406002</c:v>
                </c:pt>
                <c:pt idx="6">
                  <c:v>14.447387430772</c:v>
                </c:pt>
                <c:pt idx="7">
                  <c:v>14.270085144841</c:v>
                </c:pt>
                <c:pt idx="8">
                  <c:v>12.325516901365001</c:v>
                </c:pt>
                <c:pt idx="9">
                  <c:v>9.0279188390090006</c:v>
                </c:pt>
                <c:pt idx="10">
                  <c:v>5.2901655821820004</c:v>
                </c:pt>
                <c:pt idx="11">
                  <c:v>4.9394912324030003</c:v>
                </c:pt>
                <c:pt idx="12">
                  <c:v>4.3224551545269998</c:v>
                </c:pt>
                <c:pt idx="13">
                  <c:v>4.2098172939290004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Středočeský kraj</c:v>
                </c:pt>
                <c:pt idx="4">
                  <c:v>ČR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Zlínský kraj</c:v>
                </c:pt>
                <c:pt idx="8">
                  <c:v>Ústecký kraj</c:v>
                </c:pt>
                <c:pt idx="9">
                  <c:v>Moravskoslezský kraj</c:v>
                </c:pt>
                <c:pt idx="10">
                  <c:v>Kraj Vysočina</c:v>
                </c:pt>
                <c:pt idx="11">
                  <c:v>Královéhradecký kraj</c:v>
                </c:pt>
                <c:pt idx="12">
                  <c:v>Olomoucký kraj</c:v>
                </c:pt>
                <c:pt idx="13">
                  <c:v>Jihočes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9.398758727694997</c:v>
                </c:pt>
                <c:pt idx="1">
                  <c:v>72.102385387249001</c:v>
                </c:pt>
                <c:pt idx="2">
                  <c:v>48.218332610057999</c:v>
                </c:pt>
                <c:pt idx="3">
                  <c:v>34.333454136226997</c:v>
                </c:pt>
                <c:pt idx="4">
                  <c:v>27.418662279679999</c:v>
                </c:pt>
                <c:pt idx="5">
                  <c:v>20.750116719406002</c:v>
                </c:pt>
                <c:pt idx="6">
                  <c:v>14.447387430772</c:v>
                </c:pt>
                <c:pt idx="7">
                  <c:v>14.270085144841</c:v>
                </c:pt>
                <c:pt idx="8">
                  <c:v>12.325516901365001</c:v>
                </c:pt>
                <c:pt idx="9">
                  <c:v>9.0279188390090006</c:v>
                </c:pt>
                <c:pt idx="10">
                  <c:v>5.2901655821820004</c:v>
                </c:pt>
                <c:pt idx="11">
                  <c:v>4.9394912324030003</c:v>
                </c:pt>
                <c:pt idx="12">
                  <c:v>4.3224551545269998</c:v>
                </c:pt>
                <c:pt idx="13">
                  <c:v>4.2098172939290004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Kraj Vysočina</c:v>
                </c:pt>
                <c:pt idx="2">
                  <c:v>Moravskoslezský kraj</c:v>
                </c:pt>
                <c:pt idx="3">
                  <c:v>Středočeský kraj</c:v>
                </c:pt>
                <c:pt idx="4">
                  <c:v>Ústecký kraj</c:v>
                </c:pt>
                <c:pt idx="5">
                  <c:v>Olomoucký kraj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87</c:v>
                </c:pt>
                <c:pt idx="1">
                  <c:v>75</c:v>
                </c:pt>
                <c:pt idx="2">
                  <c:v>61</c:v>
                </c:pt>
                <c:pt idx="3">
                  <c:v>61</c:v>
                </c:pt>
                <c:pt idx="4">
                  <c:v>60</c:v>
                </c:pt>
                <c:pt idx="5">
                  <c:v>58</c:v>
                </c:pt>
                <c:pt idx="6">
                  <c:v>55</c:v>
                </c:pt>
                <c:pt idx="7">
                  <c:v>54</c:v>
                </c:pt>
                <c:pt idx="8">
                  <c:v>52</c:v>
                </c:pt>
                <c:pt idx="9">
                  <c:v>47</c:v>
                </c:pt>
                <c:pt idx="10">
                  <c:v>32</c:v>
                </c:pt>
                <c:pt idx="11">
                  <c:v>25</c:v>
                </c:pt>
                <c:pt idx="12">
                  <c:v>15</c:v>
                </c:pt>
                <c:pt idx="1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Kraj Vysočina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Jihomoravský kraj</c:v>
                </c:pt>
                <c:pt idx="6">
                  <c:v>Středočeský kraj</c:v>
                </c:pt>
                <c:pt idx="7">
                  <c:v>Jihočeský kraj</c:v>
                </c:pt>
                <c:pt idx="8">
                  <c:v>Plzeňs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Královéhradecký kraj</c:v>
                </c:pt>
                <c:pt idx="13">
                  <c:v>Pardubic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78.148860104557784</c:v>
                </c:pt>
                <c:pt idx="1">
                  <c:v>67.7084109602458</c:v>
                </c:pt>
                <c:pt idx="2">
                  <c:v>61.734827600362514</c:v>
                </c:pt>
                <c:pt idx="3">
                  <c:v>56.87630253099546</c:v>
                </c:pt>
                <c:pt idx="4">
                  <c:v>51.752975796108274</c:v>
                </c:pt>
                <c:pt idx="5">
                  <c:v>46.995155758857933</c:v>
                </c:pt>
                <c:pt idx="6">
                  <c:v>46.9703091140764</c:v>
                </c:pt>
                <c:pt idx="7">
                  <c:v>45.361423815043985</c:v>
                </c:pt>
                <c:pt idx="8">
                  <c:v>40.846510999734825</c:v>
                </c:pt>
                <c:pt idx="9">
                  <c:v>37.552249422903934</c:v>
                </c:pt>
                <c:pt idx="10">
                  <c:v>33.011558936229001</c:v>
                </c:pt>
                <c:pt idx="11">
                  <c:v>31.978010015240585</c:v>
                </c:pt>
                <c:pt idx="12">
                  <c:v>30.997526793075021</c:v>
                </c:pt>
                <c:pt idx="13">
                  <c:v>28.679632473181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Kraj Vysočina</c:v>
                </c:pt>
                <c:pt idx="1">
                  <c:v>Liberecký kraj</c:v>
                </c:pt>
                <c:pt idx="2">
                  <c:v>Olomoucký kraj</c:v>
                </c:pt>
                <c:pt idx="3">
                  <c:v>Ústecký kraj</c:v>
                </c:pt>
                <c:pt idx="4">
                  <c:v>Zlínský kraj</c:v>
                </c:pt>
                <c:pt idx="5">
                  <c:v>Jihočeský kraj</c:v>
                </c:pt>
                <c:pt idx="6">
                  <c:v>Jihomoravský kraj</c:v>
                </c:pt>
                <c:pt idx="7">
                  <c:v>Pardubický kraj</c:v>
                </c:pt>
                <c:pt idx="8">
                  <c:v>Středočeský kraj</c:v>
                </c:pt>
                <c:pt idx="9">
                  <c:v>Plzeňský kraj</c:v>
                </c:pt>
                <c:pt idx="10">
                  <c:v>Moravskoslezský kraj</c:v>
                </c:pt>
                <c:pt idx="11">
                  <c:v>Hlavní město Praha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82.743099225524588</c:v>
                </c:pt>
                <c:pt idx="1">
                  <c:v>69.501647446457994</c:v>
                </c:pt>
                <c:pt idx="2">
                  <c:v>50.621421589163525</c:v>
                </c:pt>
                <c:pt idx="3">
                  <c:v>49.210983891604606</c:v>
                </c:pt>
                <c:pt idx="4">
                  <c:v>47.453914947983208</c:v>
                </c:pt>
                <c:pt idx="5">
                  <c:v>47.393773319890734</c:v>
                </c:pt>
                <c:pt idx="6">
                  <c:v>43.423141040358566</c:v>
                </c:pt>
                <c:pt idx="7">
                  <c:v>37.268672187088733</c:v>
                </c:pt>
                <c:pt idx="8">
                  <c:v>35.411587135725064</c:v>
                </c:pt>
                <c:pt idx="9">
                  <c:v>30.712908020983058</c:v>
                </c:pt>
                <c:pt idx="10">
                  <c:v>30.656347371595135</c:v>
                </c:pt>
                <c:pt idx="11">
                  <c:v>27.224597133887094</c:v>
                </c:pt>
                <c:pt idx="12">
                  <c:v>14.057711591988978</c:v>
                </c:pt>
                <c:pt idx="13">
                  <c:v>8.0051232788984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401.57810676548002</c:v>
                </c:pt>
                <c:pt idx="1">
                  <c:v>266.19093117466002</c:v>
                </c:pt>
                <c:pt idx="2">
                  <c:v>341.99364667472798</c:v>
                </c:pt>
                <c:pt idx="3">
                  <c:v>443.88659913761097</c:v>
                </c:pt>
                <c:pt idx="4">
                  <c:v>443.53402836784397</c:v>
                </c:pt>
                <c:pt idx="5">
                  <c:v>377.25072365150402</c:v>
                </c:pt>
                <c:pt idx="6">
                  <c:v>330.18252588750801</c:v>
                </c:pt>
                <c:pt idx="7">
                  <c:v>272.53720503047902</c:v>
                </c:pt>
                <c:pt idx="8">
                  <c:v>200.78905338274001</c:v>
                </c:pt>
                <c:pt idx="9">
                  <c:v>147.02201099315599</c:v>
                </c:pt>
                <c:pt idx="10">
                  <c:v>137.15002943965899</c:v>
                </c:pt>
                <c:pt idx="11">
                  <c:v>108.062940933818</c:v>
                </c:pt>
                <c:pt idx="12">
                  <c:v>91.315829369849993</c:v>
                </c:pt>
                <c:pt idx="13">
                  <c:v>74.921288575649001</c:v>
                </c:pt>
                <c:pt idx="14">
                  <c:v>60.113316245402999</c:v>
                </c:pt>
                <c:pt idx="15">
                  <c:v>38.253928519802002</c:v>
                </c:pt>
                <c:pt idx="16">
                  <c:v>23.445956189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589.36566301136497</c:v>
                </c:pt>
                <c:pt idx="1">
                  <c:v>496.847506323115</c:v>
                </c:pt>
                <c:pt idx="2">
                  <c:v>660.50462403246604</c:v>
                </c:pt>
                <c:pt idx="3">
                  <c:v>783.903841128821</c:v>
                </c:pt>
                <c:pt idx="4">
                  <c:v>707.63887412904705</c:v>
                </c:pt>
                <c:pt idx="5">
                  <c:v>555.60903827376103</c:v>
                </c:pt>
                <c:pt idx="6">
                  <c:v>444.21217663966502</c:v>
                </c:pt>
                <c:pt idx="7">
                  <c:v>356.56997685795801</c:v>
                </c:pt>
                <c:pt idx="8">
                  <c:v>255.050053573013</c:v>
                </c:pt>
                <c:pt idx="9">
                  <c:v>191.162515643695</c:v>
                </c:pt>
                <c:pt idx="10">
                  <c:v>198.91403687973701</c:v>
                </c:pt>
                <c:pt idx="11">
                  <c:v>174.90932595521801</c:v>
                </c:pt>
                <c:pt idx="12">
                  <c:v>142.527971114331</c:v>
                </c:pt>
                <c:pt idx="13">
                  <c:v>117.27301482916</c:v>
                </c:pt>
                <c:pt idx="14">
                  <c:v>75.264770711251998</c:v>
                </c:pt>
                <c:pt idx="15">
                  <c:v>63.512464321122998</c:v>
                </c:pt>
                <c:pt idx="16">
                  <c:v>43.883612158886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718.66926980165704</c:v>
                </c:pt>
                <c:pt idx="1">
                  <c:v>417.86958863034101</c:v>
                </c:pt>
                <c:pt idx="2">
                  <c:v>537.54895704590001</c:v>
                </c:pt>
                <c:pt idx="3">
                  <c:v>687.71157390823703</c:v>
                </c:pt>
                <c:pt idx="4">
                  <c:v>722.82068495977796</c:v>
                </c:pt>
                <c:pt idx="5">
                  <c:v>694.70967374621296</c:v>
                </c:pt>
                <c:pt idx="6">
                  <c:v>601.00630303432797</c:v>
                </c:pt>
                <c:pt idx="7">
                  <c:v>451.19952175697301</c:v>
                </c:pt>
                <c:pt idx="8">
                  <c:v>339.82298365765701</c:v>
                </c:pt>
                <c:pt idx="9">
                  <c:v>251.69437044382099</c:v>
                </c:pt>
                <c:pt idx="10">
                  <c:v>229.158116728305</c:v>
                </c:pt>
                <c:pt idx="11">
                  <c:v>170.08940962131899</c:v>
                </c:pt>
                <c:pt idx="12">
                  <c:v>143.16451702436001</c:v>
                </c:pt>
                <c:pt idx="13">
                  <c:v>114.93489394913399</c:v>
                </c:pt>
                <c:pt idx="14">
                  <c:v>77.690769387700996</c:v>
                </c:pt>
                <c:pt idx="15">
                  <c:v>59.898990138609001</c:v>
                </c:pt>
                <c:pt idx="16">
                  <c:v>46.851685355942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90.49195295791105</c:v>
                </c:pt>
                <c:pt idx="1">
                  <c:v>407.521340915785</c:v>
                </c:pt>
                <c:pt idx="2">
                  <c:v>531.85448678417299</c:v>
                </c:pt>
                <c:pt idx="3">
                  <c:v>659.94296420535602</c:v>
                </c:pt>
                <c:pt idx="4">
                  <c:v>645.64555732966005</c:v>
                </c:pt>
                <c:pt idx="5">
                  <c:v>562.89252829280304</c:v>
                </c:pt>
                <c:pt idx="6">
                  <c:v>474.755349198327</c:v>
                </c:pt>
                <c:pt idx="7">
                  <c:v>371.09914934953503</c:v>
                </c:pt>
                <c:pt idx="8">
                  <c:v>273.46052897690703</c:v>
                </c:pt>
                <c:pt idx="9">
                  <c:v>202.923638726245</c:v>
                </c:pt>
                <c:pt idx="10">
                  <c:v>194.598566368246</c:v>
                </c:pt>
                <c:pt idx="11">
                  <c:v>155.914126878627</c:v>
                </c:pt>
                <c:pt idx="12">
                  <c:v>129.62680600907299</c:v>
                </c:pt>
                <c:pt idx="13">
                  <c:v>105.511243145954</c:v>
                </c:pt>
                <c:pt idx="14">
                  <c:v>72.301443630888997</c:v>
                </c:pt>
                <c:pt idx="15">
                  <c:v>55.651298914889999</c:v>
                </c:pt>
                <c:pt idx="16">
                  <c:v>39.770318492835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746.50219304700499</c:v>
                </c:pt>
                <c:pt idx="1">
                  <c:v>499.60861640080799</c:v>
                </c:pt>
                <c:pt idx="2">
                  <c:v>619.40180588700298</c:v>
                </c:pt>
                <c:pt idx="3">
                  <c:v>773.89016795995599</c:v>
                </c:pt>
                <c:pt idx="4">
                  <c:v>796.81159493418704</c:v>
                </c:pt>
                <c:pt idx="5">
                  <c:v>719.92716723587102</c:v>
                </c:pt>
                <c:pt idx="6">
                  <c:v>606.56281662381798</c:v>
                </c:pt>
                <c:pt idx="7">
                  <c:v>461.66164740678101</c:v>
                </c:pt>
                <c:pt idx="8">
                  <c:v>345.690253123383</c:v>
                </c:pt>
                <c:pt idx="9">
                  <c:v>255.49962403440099</c:v>
                </c:pt>
                <c:pt idx="10">
                  <c:v>200.83580511909301</c:v>
                </c:pt>
                <c:pt idx="11">
                  <c:v>163.225228856852</c:v>
                </c:pt>
                <c:pt idx="12">
                  <c:v>134.35151937851001</c:v>
                </c:pt>
                <c:pt idx="13">
                  <c:v>101.151425599692</c:v>
                </c:pt>
                <c:pt idx="14">
                  <c:v>71.249849440890998</c:v>
                </c:pt>
                <c:pt idx="15">
                  <c:v>46.562360624782002</c:v>
                </c:pt>
                <c:pt idx="16">
                  <c:v>29.761412520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0369207469109574E-2"/>
                  <c:y val="5.1667296635375344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ECA-480F-AC39-EDF76856668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443.13391516405198</c:v>
                </c:pt>
                <c:pt idx="1">
                  <c:v>388.33523507684799</c:v>
                </c:pt>
                <c:pt idx="2">
                  <c:v>331.28292961809302</c:v>
                </c:pt>
                <c:pt idx="3">
                  <c:v>281.46594772063497</c:v>
                </c:pt>
                <c:pt idx="4">
                  <c:v>243.03570454259699</c:v>
                </c:pt>
                <c:pt idx="5">
                  <c:v>278.97509862576197</c:v>
                </c:pt>
                <c:pt idx="6">
                  <c:v>238.64706566115399</c:v>
                </c:pt>
                <c:pt idx="7">
                  <c:v>264.74167522648901</c:v>
                </c:pt>
                <c:pt idx="8">
                  <c:v>278.14481559413798</c:v>
                </c:pt>
                <c:pt idx="9">
                  <c:v>399.84058565792799</c:v>
                </c:pt>
                <c:pt idx="10">
                  <c:v>934.54285802397305</c:v>
                </c:pt>
                <c:pt idx="11">
                  <c:v>1355.8521906424701</c:v>
                </c:pt>
                <c:pt idx="12">
                  <c:v>987.68097204792798</c:v>
                </c:pt>
                <c:pt idx="13">
                  <c:v>1158.9565002858501</c:v>
                </c:pt>
                <c:pt idx="14">
                  <c:v>563.64356661123497</c:v>
                </c:pt>
                <c:pt idx="15">
                  <c:v>628.64286680125099</c:v>
                </c:pt>
                <c:pt idx="16">
                  <c:v>624.01700419648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CA-480F-AC39-EDF768566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2.7365802904653725E-2"/>
                  <c:y val="-7.9849458436489218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F37-4491-852B-AB561D3BC9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19.06 - 25.06</c:v>
                </c:pt>
                <c:pt idx="16">
                  <c:v>26.06 - 02.07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491.66773979393</c:v>
                </c:pt>
                <c:pt idx="1">
                  <c:v>1125.97097180321</c:v>
                </c:pt>
                <c:pt idx="2">
                  <c:v>950.56154770373598</c:v>
                </c:pt>
                <c:pt idx="3">
                  <c:v>755.02317329775894</c:v>
                </c:pt>
                <c:pt idx="4">
                  <c:v>587.99039311464799</c:v>
                </c:pt>
                <c:pt idx="5">
                  <c:v>756.14839412234596</c:v>
                </c:pt>
                <c:pt idx="6">
                  <c:v>994.57018439868796</c:v>
                </c:pt>
                <c:pt idx="7">
                  <c:v>1191.23377962925</c:v>
                </c:pt>
                <c:pt idx="8">
                  <c:v>934.05830894312999</c:v>
                </c:pt>
                <c:pt idx="9">
                  <c:v>915.67970214154502</c:v>
                </c:pt>
                <c:pt idx="10">
                  <c:v>1781.22456532094</c:v>
                </c:pt>
                <c:pt idx="11">
                  <c:v>1350.7650876484499</c:v>
                </c:pt>
                <c:pt idx="12">
                  <c:v>1610.81612266407</c:v>
                </c:pt>
                <c:pt idx="13">
                  <c:v>1275.87539054539</c:v>
                </c:pt>
                <c:pt idx="14">
                  <c:v>1513.04693546108</c:v>
                </c:pt>
                <c:pt idx="15">
                  <c:v>1133.5974685031899</c:v>
                </c:pt>
                <c:pt idx="16">
                  <c:v>1973.26225271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37-4491-852B-AB561D3BC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44-4D44-AC8D-B055E249C3B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44-4D44-AC8D-B055E249C3B6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344-4D44-AC8D-B055E249C3B6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344-4D44-AC8D-B055E249C3B6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344-4D44-AC8D-B055E249C3B6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344-4D44-AC8D-B055E249C3B6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344-4D44-AC8D-B055E249C3B6}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344-4D44-AC8D-B055E249C3B6}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C344-4D44-AC8D-B055E249C3B6}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C344-4D44-AC8D-B055E249C3B6}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C344-4D44-AC8D-B055E249C3B6}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C344-4D44-AC8D-B055E249C3B6}"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C344-4D44-AC8D-B055E249C3B6}"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C344-4D44-AC8D-B055E249C3B6}"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C344-4D44-AC8D-B055E249C3B6}"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C344-4D44-AC8D-B055E249C3B6}"/>
                </c:ext>
              </c:extLst>
            </c:dLbl>
            <c:dLbl>
              <c:idx val="16"/>
              <c:layout>
                <c:manualLayout>
                  <c:x val="-6.2550406639208522E-2"/>
                  <c:y val="-0.1221227011381599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B37468E-673D-436E-985F-46C9EF4516A4}" type="VALUE">
                      <a:rPr lang="en-US" smtClean="0"/>
                      <a:pPr>
                        <a:defRPr/>
                      </a:pPr>
                      <a:t>[HODNOTA]</a:t>
                    </a:fld>
                    <a:endParaRPr lang="cs-CZ"/>
                  </a:p>
                </c:rich>
              </c:tx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3 - 12.03</c:v>
                </c:pt>
                <c:pt idx="1">
                  <c:v>13.03 - 19.03</c:v>
                </c:pt>
                <c:pt idx="2">
                  <c:v>20.03 - 26.03</c:v>
                </c:pt>
                <c:pt idx="3">
                  <c:v>27.03 - 02.04</c:v>
                </c:pt>
                <c:pt idx="4">
                  <c:v>03.04 - 09.04</c:v>
                </c:pt>
                <c:pt idx="5">
                  <c:v>10.04 - 16.04</c:v>
                </c:pt>
                <c:pt idx="6">
                  <c:v>17.04 - 23.04</c:v>
                </c:pt>
                <c:pt idx="7">
                  <c:v>24.04 - 30.04</c:v>
                </c:pt>
                <c:pt idx="8">
                  <c:v>01.05 - 07.05</c:v>
                </c:pt>
                <c:pt idx="9">
                  <c:v>08.05 - 14.05</c:v>
                </c:pt>
                <c:pt idx="10">
                  <c:v>15.05 - 21.05</c:v>
                </c:pt>
                <c:pt idx="11">
                  <c:v>22.05 - 28.05</c:v>
                </c:pt>
                <c:pt idx="12">
                  <c:v>29.05 - 04.06</c:v>
                </c:pt>
                <c:pt idx="13">
                  <c:v>05.06 - 11.06</c:v>
                </c:pt>
                <c:pt idx="14">
                  <c:v>12.06 - 18.06</c:v>
                </c:pt>
                <c:pt idx="15">
                  <c:v>20.06 - 25.06</c:v>
                </c:pt>
                <c:pt idx="16">
                  <c:v>26.06 - 02.07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65.66207502000799</c:v>
                </c:pt>
                <c:pt idx="1">
                  <c:v>221.41444341415399</c:v>
                </c:pt>
                <c:pt idx="2">
                  <c:v>179.63480719667399</c:v>
                </c:pt>
                <c:pt idx="3">
                  <c:v>136.44488790012301</c:v>
                </c:pt>
                <c:pt idx="4">
                  <c:v>122.34205710941301</c:v>
                </c:pt>
                <c:pt idx="5">
                  <c:v>134.32946328151701</c:v>
                </c:pt>
                <c:pt idx="6">
                  <c:v>110.707221707077</c:v>
                </c:pt>
                <c:pt idx="7">
                  <c:v>113.70407325010299</c:v>
                </c:pt>
                <c:pt idx="8">
                  <c:v>116.87721017801201</c:v>
                </c:pt>
                <c:pt idx="9">
                  <c:v>123.047198648948</c:v>
                </c:pt>
                <c:pt idx="10">
                  <c:v>130.274899429187</c:v>
                </c:pt>
                <c:pt idx="11">
                  <c:v>123.39976941871601</c:v>
                </c:pt>
                <c:pt idx="12">
                  <c:v>121.10805941522599</c:v>
                </c:pt>
                <c:pt idx="13">
                  <c:v>102.950664772186</c:v>
                </c:pt>
                <c:pt idx="14">
                  <c:v>82.501560125655999</c:v>
                </c:pt>
                <c:pt idx="15">
                  <c:v>76.860427809371998</c:v>
                </c:pt>
                <c:pt idx="16">
                  <c:v>61.876170094241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8571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78562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035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46889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0325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3075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5089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4048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41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284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812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58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19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03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695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67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8485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44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34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542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93027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056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4599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027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071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0638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1459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2061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7443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04600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86771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767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6.07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6.07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93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96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4849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926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24502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7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729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4419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0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5" Type="http://schemas.openxmlformats.org/officeDocument/2006/relationships/notesSlide" Target="../notesSlides/notesSlide7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130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136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4" Type="http://schemas.openxmlformats.org/officeDocument/2006/relationships/tags" Target="../tags/tag13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Relationship Id="rId9" Type="http://schemas.openxmlformats.org/officeDocument/2006/relationships/notesSlide" Target="../notesSlides/notesSlide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149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155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4" Type="http://schemas.openxmlformats.org/officeDocument/2006/relationships/tags" Target="../tags/tag1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161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6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5" Type="http://schemas.openxmlformats.org/officeDocument/2006/relationships/tags" Target="../tags/tag174.xml"/><Relationship Id="rId15" Type="http://schemas.openxmlformats.org/officeDocument/2006/relationships/chart" Target="../charts/chart6.xml"/><Relationship Id="rId10" Type="http://schemas.openxmlformats.org/officeDocument/2006/relationships/tags" Target="../tags/tag179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26" Type="http://schemas.openxmlformats.org/officeDocument/2006/relationships/chart" Target="../charts/chart8.xml"/><Relationship Id="rId3" Type="http://schemas.openxmlformats.org/officeDocument/2006/relationships/tags" Target="../tags/tag185.xml"/><Relationship Id="rId21" Type="http://schemas.openxmlformats.org/officeDocument/2006/relationships/tags" Target="../tags/tag203.xml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25" Type="http://schemas.openxmlformats.org/officeDocument/2006/relationships/chart" Target="../charts/chart7.xml"/><Relationship Id="rId2" Type="http://schemas.openxmlformats.org/officeDocument/2006/relationships/tags" Target="../tags/tag184.xml"/><Relationship Id="rId16" Type="http://schemas.openxmlformats.org/officeDocument/2006/relationships/tags" Target="../tags/tag198.xml"/><Relationship Id="rId20" Type="http://schemas.openxmlformats.org/officeDocument/2006/relationships/tags" Target="../tags/tag202.xml"/><Relationship Id="rId29" Type="http://schemas.openxmlformats.org/officeDocument/2006/relationships/chart" Target="../charts/chart11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24" Type="http://schemas.openxmlformats.org/officeDocument/2006/relationships/notesSlide" Target="../notesSlides/notesSlide15.xml"/><Relationship Id="rId5" Type="http://schemas.openxmlformats.org/officeDocument/2006/relationships/tags" Target="../tags/tag187.xml"/><Relationship Id="rId15" Type="http://schemas.openxmlformats.org/officeDocument/2006/relationships/tags" Target="../tags/tag197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0.xml"/><Relationship Id="rId10" Type="http://schemas.openxmlformats.org/officeDocument/2006/relationships/tags" Target="../tags/tag192.xml"/><Relationship Id="rId19" Type="http://schemas.openxmlformats.org/officeDocument/2006/relationships/tags" Target="../tags/tag201.xml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Relationship Id="rId22" Type="http://schemas.openxmlformats.org/officeDocument/2006/relationships/tags" Target="../tags/tag204.xml"/><Relationship Id="rId27" Type="http://schemas.openxmlformats.org/officeDocument/2006/relationships/chart" Target="../charts/chart9.xml"/><Relationship Id="rId30" Type="http://schemas.openxmlformats.org/officeDocument/2006/relationships/chart" Target="../charts/chart1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18" Type="http://schemas.openxmlformats.org/officeDocument/2006/relationships/tags" Target="../tags/tag222.xml"/><Relationship Id="rId26" Type="http://schemas.openxmlformats.org/officeDocument/2006/relationships/chart" Target="../charts/chart14.xml"/><Relationship Id="rId3" Type="http://schemas.openxmlformats.org/officeDocument/2006/relationships/tags" Target="../tags/tag207.xml"/><Relationship Id="rId21" Type="http://schemas.openxmlformats.org/officeDocument/2006/relationships/tags" Target="../tags/tag225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tags" Target="../tags/tag221.xml"/><Relationship Id="rId25" Type="http://schemas.openxmlformats.org/officeDocument/2006/relationships/chart" Target="../charts/chart13.xml"/><Relationship Id="rId2" Type="http://schemas.openxmlformats.org/officeDocument/2006/relationships/tags" Target="../tags/tag206.xml"/><Relationship Id="rId16" Type="http://schemas.openxmlformats.org/officeDocument/2006/relationships/tags" Target="../tags/tag220.xml"/><Relationship Id="rId20" Type="http://schemas.openxmlformats.org/officeDocument/2006/relationships/tags" Target="../tags/tag224.xml"/><Relationship Id="rId29" Type="http://schemas.openxmlformats.org/officeDocument/2006/relationships/chart" Target="../charts/chart17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24" Type="http://schemas.openxmlformats.org/officeDocument/2006/relationships/notesSlide" Target="../notesSlides/notesSlide16.xml"/><Relationship Id="rId5" Type="http://schemas.openxmlformats.org/officeDocument/2006/relationships/tags" Target="../tags/tag209.xml"/><Relationship Id="rId15" Type="http://schemas.openxmlformats.org/officeDocument/2006/relationships/tags" Target="../tags/tag219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6.xml"/><Relationship Id="rId10" Type="http://schemas.openxmlformats.org/officeDocument/2006/relationships/tags" Target="../tags/tag214.xml"/><Relationship Id="rId19" Type="http://schemas.openxmlformats.org/officeDocument/2006/relationships/tags" Target="../tags/tag223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Relationship Id="rId22" Type="http://schemas.openxmlformats.org/officeDocument/2006/relationships/tags" Target="../tags/tag226.xml"/><Relationship Id="rId27" Type="http://schemas.openxmlformats.org/officeDocument/2006/relationships/chart" Target="../charts/chart15.xml"/><Relationship Id="rId30" Type="http://schemas.openxmlformats.org/officeDocument/2006/relationships/chart" Target="../charts/chart1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tags" Target="../tags/tag239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tags" Target="../tags/tag238.xml"/><Relationship Id="rId2" Type="http://schemas.openxmlformats.org/officeDocument/2006/relationships/tags" Target="../tags/tag228.xml"/><Relationship Id="rId16" Type="http://schemas.openxmlformats.org/officeDocument/2006/relationships/chart" Target="../charts/chart20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tags" Target="../tags/tag237.xml"/><Relationship Id="rId5" Type="http://schemas.openxmlformats.org/officeDocument/2006/relationships/tags" Target="../tags/tag231.xml"/><Relationship Id="rId15" Type="http://schemas.openxmlformats.org/officeDocument/2006/relationships/chart" Target="../charts/chart19.xml"/><Relationship Id="rId10" Type="http://schemas.openxmlformats.org/officeDocument/2006/relationships/tags" Target="../tags/tag236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openxmlformats.org/officeDocument/2006/relationships/slideLayout" Target="../slideLayouts/slideLayout2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13" Type="http://schemas.openxmlformats.org/officeDocument/2006/relationships/tags" Target="../tags/tag252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tags" Target="../tags/tag251.xml"/><Relationship Id="rId2" Type="http://schemas.openxmlformats.org/officeDocument/2006/relationships/tags" Target="../tags/tag241.xml"/><Relationship Id="rId16" Type="http://schemas.openxmlformats.org/officeDocument/2006/relationships/chart" Target="../charts/chart22.xml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tags" Target="../tags/tag250.xml"/><Relationship Id="rId5" Type="http://schemas.openxmlformats.org/officeDocument/2006/relationships/tags" Target="../tags/tag244.xml"/><Relationship Id="rId15" Type="http://schemas.openxmlformats.org/officeDocument/2006/relationships/chart" Target="../charts/chart21.xml"/><Relationship Id="rId10" Type="http://schemas.openxmlformats.org/officeDocument/2006/relationships/tags" Target="../tags/tag249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13" Type="http://schemas.openxmlformats.org/officeDocument/2006/relationships/tags" Target="../tags/tag265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2" Type="http://schemas.openxmlformats.org/officeDocument/2006/relationships/tags" Target="../tags/tag254.xml"/><Relationship Id="rId16" Type="http://schemas.openxmlformats.org/officeDocument/2006/relationships/chart" Target="../charts/chart2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1" Type="http://schemas.openxmlformats.org/officeDocument/2006/relationships/tags" Target="../tags/tag263.xml"/><Relationship Id="rId5" Type="http://schemas.openxmlformats.org/officeDocument/2006/relationships/tags" Target="../tags/tag257.xml"/><Relationship Id="rId15" Type="http://schemas.openxmlformats.org/officeDocument/2006/relationships/chart" Target="../charts/chart23.xml"/><Relationship Id="rId10" Type="http://schemas.openxmlformats.org/officeDocument/2006/relationships/tags" Target="../tags/tag262.xml"/><Relationship Id="rId4" Type="http://schemas.openxmlformats.org/officeDocument/2006/relationships/tags" Target="../tags/tag256.xml"/><Relationship Id="rId9" Type="http://schemas.openxmlformats.org/officeDocument/2006/relationships/tags" Target="../tags/tag261.xml"/><Relationship Id="rId14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13" Type="http://schemas.openxmlformats.org/officeDocument/2006/relationships/tags" Target="../tags/tag278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12" Type="http://schemas.openxmlformats.org/officeDocument/2006/relationships/tags" Target="../tags/tag277.xml"/><Relationship Id="rId2" Type="http://schemas.openxmlformats.org/officeDocument/2006/relationships/tags" Target="../tags/tag267.xml"/><Relationship Id="rId16" Type="http://schemas.openxmlformats.org/officeDocument/2006/relationships/chart" Target="../charts/chart26.xml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11" Type="http://schemas.openxmlformats.org/officeDocument/2006/relationships/tags" Target="../tags/tag276.xml"/><Relationship Id="rId5" Type="http://schemas.openxmlformats.org/officeDocument/2006/relationships/tags" Target="../tags/tag270.xml"/><Relationship Id="rId15" Type="http://schemas.openxmlformats.org/officeDocument/2006/relationships/chart" Target="../charts/chart25.xml"/><Relationship Id="rId10" Type="http://schemas.openxmlformats.org/officeDocument/2006/relationships/tags" Target="../tags/tag275.xml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4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6.xml"/><Relationship Id="rId13" Type="http://schemas.openxmlformats.org/officeDocument/2006/relationships/tags" Target="../tags/tag291.xml"/><Relationship Id="rId3" Type="http://schemas.openxmlformats.org/officeDocument/2006/relationships/tags" Target="../tags/tag281.xml"/><Relationship Id="rId7" Type="http://schemas.openxmlformats.org/officeDocument/2006/relationships/tags" Target="../tags/tag285.xml"/><Relationship Id="rId12" Type="http://schemas.openxmlformats.org/officeDocument/2006/relationships/tags" Target="../tags/tag290.xml"/><Relationship Id="rId2" Type="http://schemas.openxmlformats.org/officeDocument/2006/relationships/tags" Target="../tags/tag280.xml"/><Relationship Id="rId16" Type="http://schemas.openxmlformats.org/officeDocument/2006/relationships/chart" Target="../charts/chart28.xml"/><Relationship Id="rId1" Type="http://schemas.openxmlformats.org/officeDocument/2006/relationships/tags" Target="../tags/tag279.xml"/><Relationship Id="rId6" Type="http://schemas.openxmlformats.org/officeDocument/2006/relationships/tags" Target="../tags/tag284.xml"/><Relationship Id="rId11" Type="http://schemas.openxmlformats.org/officeDocument/2006/relationships/tags" Target="../tags/tag289.xml"/><Relationship Id="rId5" Type="http://schemas.openxmlformats.org/officeDocument/2006/relationships/tags" Target="../tags/tag283.xml"/><Relationship Id="rId15" Type="http://schemas.openxmlformats.org/officeDocument/2006/relationships/chart" Target="../charts/chart27.xml"/><Relationship Id="rId10" Type="http://schemas.openxmlformats.org/officeDocument/2006/relationships/tags" Target="../tags/tag288.xml"/><Relationship Id="rId4" Type="http://schemas.openxmlformats.org/officeDocument/2006/relationships/tags" Target="../tags/tag282.xml"/><Relationship Id="rId9" Type="http://schemas.openxmlformats.org/officeDocument/2006/relationships/tags" Target="../tags/tag287.xml"/><Relationship Id="rId14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chart" Target="../charts/chart1.xml"/><Relationship Id="rId5" Type="http://schemas.openxmlformats.org/officeDocument/2006/relationships/tags" Target="../tags/tag11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chart" Target="../charts/chart3.xml"/><Relationship Id="rId4" Type="http://schemas.openxmlformats.org/officeDocument/2006/relationships/tags" Target="../tags/tag18.xml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chart" Target="../charts/chart5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9" Type="http://schemas.openxmlformats.org/officeDocument/2006/relationships/image" Target="../media/image16.png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34" Type="http://schemas.openxmlformats.org/officeDocument/2006/relationships/slideLayout" Target="../slideLayouts/slideLayout9.xml"/><Relationship Id="rId42" Type="http://schemas.openxmlformats.org/officeDocument/2006/relationships/image" Target="../media/image19.png"/><Relationship Id="rId47" Type="http://schemas.openxmlformats.org/officeDocument/2006/relationships/image" Target="../media/image24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tags" Target="../tags/tag63.xml"/><Relationship Id="rId38" Type="http://schemas.openxmlformats.org/officeDocument/2006/relationships/image" Target="../media/image15.png"/><Relationship Id="rId46" Type="http://schemas.openxmlformats.org/officeDocument/2006/relationships/image" Target="../media/image23.png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tags" Target="../tags/tag59.xml"/><Relationship Id="rId41" Type="http://schemas.openxmlformats.org/officeDocument/2006/relationships/image" Target="../media/image18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tags" Target="../tags/tag62.xml"/><Relationship Id="rId37" Type="http://schemas.openxmlformats.org/officeDocument/2006/relationships/image" Target="../media/image14.png"/><Relationship Id="rId40" Type="http://schemas.openxmlformats.org/officeDocument/2006/relationships/image" Target="../media/image17.png"/><Relationship Id="rId45" Type="http://schemas.openxmlformats.org/officeDocument/2006/relationships/image" Target="../media/image22.png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tags" Target="../tags/tag58.xml"/><Relationship Id="rId36" Type="http://schemas.openxmlformats.org/officeDocument/2006/relationships/image" Target="../media/image13.png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tags" Target="../tags/tag61.xml"/><Relationship Id="rId44" Type="http://schemas.openxmlformats.org/officeDocument/2006/relationships/image" Target="../media/image21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tags" Target="../tags/tag60.xml"/><Relationship Id="rId35" Type="http://schemas.openxmlformats.org/officeDocument/2006/relationships/image" Target="../media/image12.png"/><Relationship Id="rId43" Type="http://schemas.openxmlformats.org/officeDocument/2006/relationships/image" Target="../media/image20.png"/><Relationship Id="rId48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tags" Target="../tags/tag89.xml"/><Relationship Id="rId39" Type="http://schemas.openxmlformats.org/officeDocument/2006/relationships/image" Target="../media/image30.png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34" Type="http://schemas.openxmlformats.org/officeDocument/2006/relationships/slideLayout" Target="../slideLayouts/slideLayout9.xml"/><Relationship Id="rId42" Type="http://schemas.openxmlformats.org/officeDocument/2006/relationships/image" Target="../media/image33.png"/><Relationship Id="rId47" Type="http://schemas.openxmlformats.org/officeDocument/2006/relationships/image" Target="../media/image38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33" Type="http://schemas.openxmlformats.org/officeDocument/2006/relationships/tags" Target="../tags/tag96.xml"/><Relationship Id="rId38" Type="http://schemas.openxmlformats.org/officeDocument/2006/relationships/image" Target="../media/image29.png"/><Relationship Id="rId46" Type="http://schemas.openxmlformats.org/officeDocument/2006/relationships/image" Target="../media/image37.png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tags" Target="../tags/tag92.xml"/><Relationship Id="rId41" Type="http://schemas.openxmlformats.org/officeDocument/2006/relationships/image" Target="../media/image32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32" Type="http://schemas.openxmlformats.org/officeDocument/2006/relationships/tags" Target="../tags/tag95.xml"/><Relationship Id="rId37" Type="http://schemas.openxmlformats.org/officeDocument/2006/relationships/image" Target="../media/image28.png"/><Relationship Id="rId40" Type="http://schemas.openxmlformats.org/officeDocument/2006/relationships/image" Target="../media/image31.png"/><Relationship Id="rId45" Type="http://schemas.openxmlformats.org/officeDocument/2006/relationships/image" Target="../media/image36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tags" Target="../tags/tag91.xml"/><Relationship Id="rId36" Type="http://schemas.openxmlformats.org/officeDocument/2006/relationships/image" Target="../media/image27.png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tags" Target="../tags/tag94.xml"/><Relationship Id="rId44" Type="http://schemas.openxmlformats.org/officeDocument/2006/relationships/image" Target="../media/image35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tags" Target="../tags/tag90.xml"/><Relationship Id="rId30" Type="http://schemas.openxmlformats.org/officeDocument/2006/relationships/tags" Target="../tags/tag93.xml"/><Relationship Id="rId35" Type="http://schemas.openxmlformats.org/officeDocument/2006/relationships/image" Target="../media/image26.png"/><Relationship Id="rId43" Type="http://schemas.openxmlformats.org/officeDocument/2006/relationships/image" Target="../media/image34.png"/><Relationship Id="rId48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Souhrnné výsledky testů ze škol</a:t>
            </a:r>
          </a:p>
          <a:p>
            <a:r>
              <a:rPr lang="cs-CZ" sz="4000" i="1" dirty="0"/>
              <a:t>- </a:t>
            </a:r>
            <a:r>
              <a:rPr lang="cs-CZ" sz="4000" i="1" dirty="0" smtClean="0"/>
              <a:t>Hlášení výsledků: </a:t>
            </a:r>
            <a:r>
              <a:rPr lang="cs-CZ" sz="4000" i="1" dirty="0"/>
              <a:t>3. 7. 2021- </a:t>
            </a:r>
          </a:p>
        </p:txBody>
      </p:sp>
    </p:spTree>
    <p:extLst>
      <p:ext uri="{BB962C8B-B14F-4D97-AF65-F5344CB8AC3E}">
        <p14:creationId xmlns:p14="http://schemas.microsoft.com/office/powerpoint/2010/main" val="21682295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souhrnné hodnocení 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4690231"/>
              </p:ext>
            </p:extLst>
          </p:nvPr>
        </p:nvGraphicFramePr>
        <p:xfrm>
          <a:off x="263825" y="1187288"/>
          <a:ext cx="11657891" cy="5274830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407006">
                <a:tc row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effectLst/>
                        </a:rPr>
                        <a:t>Hodnocený týden </a:t>
                      </a: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Žáci*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aměstnanci 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5382023"/>
                  </a:ext>
                </a:extLst>
              </a:tr>
              <a:tr h="779037">
                <a:tc vMerge="1"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 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1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2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 – 30.5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906264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3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4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249894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5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 – 20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433359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6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 – 27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490130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7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 – 2.7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0614454"/>
                  </a:ext>
                </a:extLst>
              </a:tr>
              <a:tr h="34623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247501"/>
                  </a:ext>
                </a:extLst>
              </a:tr>
            </a:tbl>
          </a:graphicData>
        </a:graphic>
      </p:graphicFrame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3825" y="747481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3. 7. 2021 18:00</a:t>
            </a:r>
            <a:endParaRPr lang="cs-CZ" sz="1400" i="1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E40EDBC-756B-45F8-84B9-3427EA067CA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70284" y="6550223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Výsledky všech testů v rámci testování ve školách bez ohledu na věk žáka.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09200" y="664068"/>
            <a:ext cx="6878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Podkladem pro tabulku jsou agregované výsledky testů hlášené přímo ze škol. </a:t>
            </a:r>
          </a:p>
          <a:p>
            <a:pPr algn="r"/>
            <a:r>
              <a:rPr lang="cs-CZ" sz="1400" i="1" dirty="0"/>
              <a:t>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16848156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Výsledky testů ze škol v relaci s celkovými populačními záchyty nemoci u dětí 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013923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14300" y="412883"/>
            <a:ext cx="1182052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Všechny pozitivně potvrzené případy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byly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šetřeny epidemiology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 na KHS. Tato šetření umožňují odlišit děti pravděpodobně nakažené v souvislosti se školní docházkou. U dětí ve věku 5 – 11 let, které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byly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ve škole nejdéle, prokázalo epidemické šetření KHS u 30</a:t>
            </a:r>
            <a:r>
              <a:rPr lang="cs-CZ" sz="2800" b="1" dirty="0">
                <a:cs typeface="Arial" panose="020B0604020202020204" pitchFamily="34" charset="0"/>
              </a:rPr>
              <a:t> % ze všech zachycených nákaz souvislost se školou. Dále tento podíl nákaz souvisejících se školou </a:t>
            </a:r>
            <a:r>
              <a:rPr lang="cs-CZ" sz="2800" b="1" dirty="0" smtClean="0">
                <a:cs typeface="Arial" panose="020B0604020202020204" pitchFamily="34" charset="0"/>
              </a:rPr>
              <a:t>klesal </a:t>
            </a:r>
            <a:r>
              <a:rPr lang="cs-CZ" sz="2800" b="1" dirty="0">
                <a:cs typeface="Arial" panose="020B0604020202020204" pitchFamily="34" charset="0"/>
              </a:rPr>
              <a:t>k 20 % (věková kategorie 12 – 15 let) a k 4 % (věková kategorie 16 – 19 let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dirty="0">
                <a:cs typeface="Arial" panose="020B0604020202020204" pitchFamily="34" charset="0"/>
              </a:rPr>
              <a:t>Naprostá většina pozitivních výsledků AG testů </a:t>
            </a:r>
            <a:r>
              <a:rPr lang="cs-CZ" sz="2800" dirty="0" smtClean="0">
                <a:cs typeface="Arial" panose="020B0604020202020204" pitchFamily="34" charset="0"/>
              </a:rPr>
              <a:t>byla </a:t>
            </a:r>
            <a:r>
              <a:rPr lang="cs-CZ" sz="2800" dirty="0">
                <a:cs typeface="Arial" panose="020B0604020202020204" pitchFamily="34" charset="0"/>
              </a:rPr>
              <a:t>konfirmována přes PCR a do centrální databáze tak pozitivní výsledky </a:t>
            </a:r>
            <a:r>
              <a:rPr lang="cs-CZ" sz="2800" dirty="0" smtClean="0">
                <a:cs typeface="Arial" panose="020B0604020202020204" pitchFamily="34" charset="0"/>
              </a:rPr>
              <a:t>vstupovaly jako </a:t>
            </a:r>
            <a:r>
              <a:rPr lang="cs-CZ" sz="2800" dirty="0">
                <a:cs typeface="Arial" panose="020B0604020202020204" pitchFamily="34" charset="0"/>
              </a:rPr>
              <a:t>výsledky PCR testů. Primární záznamy založené na pozitivních AG testech u symptomatických dětí </a:t>
            </a:r>
            <a:r>
              <a:rPr lang="cs-CZ" sz="2800" dirty="0" smtClean="0">
                <a:cs typeface="Arial" panose="020B0604020202020204" pitchFamily="34" charset="0"/>
              </a:rPr>
              <a:t>tvořily </a:t>
            </a:r>
            <a:r>
              <a:rPr lang="cs-CZ" sz="2800" dirty="0">
                <a:cs typeface="Arial" panose="020B0604020202020204" pitchFamily="34" charset="0"/>
              </a:rPr>
              <a:t>pouze cca 1% - 3% celku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41176" y="328779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41176" y="602560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58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solidFill>
                  <a:srgbClr val="000000"/>
                </a:solidFill>
                <a:latin typeface="Arial" panose="020B0604020202020204"/>
              </a:rPr>
              <a:t>(bez dělení na </a:t>
            </a:r>
            <a:r>
              <a:rPr lang="cs-CZ" sz="1600" i="1" dirty="0">
                <a:latin typeface="Arial" panose="020B0604020202020204"/>
              </a:rPr>
              <a:t>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4" y="3156370"/>
            <a:ext cx="2291951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10 941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 040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47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* 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699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686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3. 7. 2021 16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</a:t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1 433 </a:t>
            </a:r>
            <a:r>
              <a:rPr lang="cs-CZ" sz="2000" dirty="0">
                <a:solidFill>
                  <a:schemeClr val="bg1"/>
                </a:solidFill>
              </a:rPr>
              <a:t>nákaz u dětí </a:t>
            </a:r>
          </a:p>
          <a:p>
            <a:r>
              <a:rPr lang="cs-CZ" sz="2000" dirty="0">
                <a:solidFill>
                  <a:schemeClr val="bg1"/>
                </a:solidFill>
              </a:rPr>
              <a:t>(5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Testy provedené přímo ve školách potvrdily </a:t>
            </a:r>
          </a:p>
          <a:p>
            <a:r>
              <a:rPr lang="cs-CZ" sz="2200" b="1" dirty="0"/>
              <a:t>5 040 </a:t>
            </a:r>
            <a:r>
              <a:rPr lang="cs-CZ" sz="2200" dirty="0"/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Epidemická šetření všech záznamů v </a:t>
            </a:r>
            <a:r>
              <a:rPr lang="cs-CZ" sz="2200" b="1" dirty="0"/>
              <a:t>ISIN</a:t>
            </a:r>
            <a:r>
              <a:rPr lang="cs-CZ" sz="2200" dirty="0"/>
              <a:t> prokázala </a:t>
            </a:r>
          </a:p>
          <a:p>
            <a:r>
              <a:rPr lang="cs-CZ" sz="2200" b="1" dirty="0"/>
              <a:t>2 999 </a:t>
            </a:r>
            <a:r>
              <a:rPr lang="cs-CZ" sz="2200" dirty="0"/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Testy ve školách </a:t>
            </a:r>
          </a:p>
        </p:txBody>
      </p:sp>
      <p:sp>
        <p:nvSpPr>
          <p:cNvPr id="26" name="TextovéPole 25"/>
          <p:cNvSpPr txBox="1"/>
          <p:nvPr/>
        </p:nvSpPr>
        <p:spPr>
          <a:xfrm>
            <a:off x="1659867" y="2046941"/>
            <a:ext cx="7869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imární záchyty nahlášené do CFA bez konfirmace</a:t>
            </a:r>
          </a:p>
        </p:txBody>
      </p:sp>
      <p:sp>
        <p:nvSpPr>
          <p:cNvPr id="27" name="TextovéPole 26"/>
          <p:cNvSpPr txBox="1"/>
          <p:nvPr>
            <p:custDataLst>
              <p:tags r:id="rId12"/>
            </p:custDataLst>
          </p:nvPr>
        </p:nvSpPr>
        <p:spPr>
          <a:xfrm>
            <a:off x="3649937" y="2737924"/>
            <a:ext cx="369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Testy ve školách </a:t>
            </a:r>
          </a:p>
        </p:txBody>
      </p:sp>
      <p:sp>
        <p:nvSpPr>
          <p:cNvPr id="28" name="TextovéPole 27"/>
          <p:cNvSpPr txBox="1"/>
          <p:nvPr/>
        </p:nvSpPr>
        <p:spPr>
          <a:xfrm>
            <a:off x="1659867" y="4002113"/>
            <a:ext cx="7869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imární záchyty nahlášené do CFA bez konfirmace</a:t>
            </a:r>
          </a:p>
        </p:txBody>
      </p:sp>
      <p:sp>
        <p:nvSpPr>
          <p:cNvPr id="7" name="Ohnutá šipka 6"/>
          <p:cNvSpPr/>
          <p:nvPr/>
        </p:nvSpPr>
        <p:spPr>
          <a:xfrm rot="5400000">
            <a:off x="10300716" y="3727154"/>
            <a:ext cx="1318308" cy="779421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0632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Populační záchyty nákazy u dětí různých věkových kategorií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latin typeface="Arial" panose="020B0604020202020204"/>
              </a:rPr>
              <a:t>(bez dělení na 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10" name="TextovéPole 9"/>
          <p:cNvSpPr txBox="1"/>
          <p:nvPr>
            <p:custDataLst>
              <p:tags r:id="rId3"/>
            </p:custDataLst>
          </p:nvPr>
        </p:nvSpPr>
        <p:spPr>
          <a:xfrm>
            <a:off x="224157" y="100910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5 – 11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3. 7. 2021 16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5"/>
            </p:custDataLst>
          </p:nvPr>
        </p:nvSpPr>
        <p:spPr>
          <a:xfrm>
            <a:off x="292231" y="1543834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7 051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5 – 11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5289543" y="1402633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2 123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0 % celku)</a:t>
            </a:r>
          </a:p>
        </p:txBody>
      </p:sp>
      <p:sp>
        <p:nvSpPr>
          <p:cNvPr id="23" name="Šipka doprava 22"/>
          <p:cNvSpPr/>
          <p:nvPr/>
        </p:nvSpPr>
        <p:spPr>
          <a:xfrm>
            <a:off x="4794623" y="171243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TextovéPole 26"/>
          <p:cNvSpPr txBox="1"/>
          <p:nvPr>
            <p:custDataLst>
              <p:tags r:id="rId7"/>
            </p:custDataLst>
          </p:nvPr>
        </p:nvSpPr>
        <p:spPr>
          <a:xfrm>
            <a:off x="224157" y="2725899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2 – 15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>
            <p:custDataLst>
              <p:tags r:id="rId8"/>
            </p:custDataLst>
          </p:nvPr>
        </p:nvSpPr>
        <p:spPr>
          <a:xfrm>
            <a:off x="292231" y="3308250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4 382</a:t>
            </a: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2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9" name="TextovéPole 28"/>
          <p:cNvSpPr txBox="1"/>
          <p:nvPr>
            <p:custDataLst>
              <p:tags r:id="rId9"/>
            </p:custDataLst>
          </p:nvPr>
        </p:nvSpPr>
        <p:spPr>
          <a:xfrm>
            <a:off x="5289543" y="3149720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876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20 % celku)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4794623" y="345951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TextovéPole 30"/>
          <p:cNvSpPr txBox="1"/>
          <p:nvPr>
            <p:custDataLst>
              <p:tags r:id="rId10"/>
            </p:custDataLst>
          </p:nvPr>
        </p:nvSpPr>
        <p:spPr>
          <a:xfrm>
            <a:off x="224157" y="4518452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6 – 19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/>
          <p:cNvSpPr txBox="1"/>
          <p:nvPr>
            <p:custDataLst>
              <p:tags r:id="rId11"/>
            </p:custDataLst>
          </p:nvPr>
        </p:nvSpPr>
        <p:spPr>
          <a:xfrm>
            <a:off x="292231" y="5081753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3 751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6 – 19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3" name="TextovéPole 32"/>
          <p:cNvSpPr txBox="1"/>
          <p:nvPr>
            <p:custDataLst>
              <p:tags r:id="rId12"/>
            </p:custDataLst>
          </p:nvPr>
        </p:nvSpPr>
        <p:spPr>
          <a:xfrm>
            <a:off x="5289543" y="4913698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128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 % celku)</a:t>
            </a:r>
          </a:p>
        </p:txBody>
      </p:sp>
      <p:sp>
        <p:nvSpPr>
          <p:cNvPr id="34" name="Šipka doprava 33"/>
          <p:cNvSpPr/>
          <p:nvPr/>
        </p:nvSpPr>
        <p:spPr>
          <a:xfrm>
            <a:off x="4794623" y="5204446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>
            <p:custDataLst>
              <p:tags r:id="rId13"/>
            </p:custDataLst>
          </p:nvPr>
        </p:nvSpPr>
        <p:spPr>
          <a:xfrm>
            <a:off x="9505950" y="2357659"/>
            <a:ext cx="2581275" cy="31085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růběžně hodnocená data</a:t>
            </a:r>
          </a:p>
          <a:p>
            <a:r>
              <a:rPr lang="cs-CZ" sz="1400" dirty="0"/>
              <a:t>o nákazách žáků ukazují </a:t>
            </a:r>
          </a:p>
          <a:p>
            <a:r>
              <a:rPr lang="cs-CZ" sz="1400" dirty="0"/>
              <a:t>na logický gradient v podílu nákaz souvisejících se školou (výsledky epidemických šetření KHS). </a:t>
            </a:r>
          </a:p>
          <a:p>
            <a:r>
              <a:rPr lang="cs-CZ" sz="1400" dirty="0"/>
              <a:t>Věková kategorie, která je nejdéle ve škole (5 – 11 let) vykazuje 30 % z celkem zachycených nákaz (po 12.4.) jako souvisejících se školou, dále tento podíl klesá k 20 % (třída 12 – 15 let) a k 4 % (16 – 19 let). </a:t>
            </a:r>
          </a:p>
        </p:txBody>
      </p:sp>
    </p:spTree>
    <p:extLst>
      <p:ext uri="{BB962C8B-B14F-4D97-AF65-F5344CB8AC3E}">
        <p14:creationId xmlns:p14="http://schemas.microsoft.com/office/powerpoint/2010/main" val="29362406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5 let</a:t>
            </a:r>
            <a:r>
              <a:rPr lang="cs-CZ" dirty="0"/>
              <a:t> mezi 12.4 – 2.7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270467"/>
              </p:ext>
            </p:extLst>
          </p:nvPr>
        </p:nvGraphicFramePr>
        <p:xfrm>
          <a:off x="700436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1 433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0 886 (9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3 455 (30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7 431 (65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547 (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289 (2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58 (2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202907"/>
            <a:ext cx="56509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8708515"/>
              </p:ext>
            </p:extLst>
          </p:nvPr>
        </p:nvGraphicFramePr>
        <p:xfrm>
          <a:off x="6751384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999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932 (97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889 (29,6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 043 (68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67 (2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34 (1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33 (1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5819" y="1202907"/>
            <a:ext cx="56541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586887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918963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918963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918963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918963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586887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99865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99865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918963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99865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99865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918963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586887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329899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35434088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</a:t>
            </a:r>
            <a:r>
              <a:rPr lang="en-US" u="sng" dirty="0"/>
              <a:t>1</a:t>
            </a:r>
            <a:r>
              <a:rPr lang="cs-CZ" u="sng" dirty="0"/>
              <a:t> let</a:t>
            </a:r>
            <a:r>
              <a:rPr lang="cs-CZ" dirty="0"/>
              <a:t> mezi 12.4 – 2.7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40405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7 051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 751 (95,7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 055 (29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4 696 (66,6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300 (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53 (2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47 (2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36355870"/>
              </p:ext>
            </p:extLst>
          </p:nvPr>
        </p:nvGraphicFramePr>
        <p:xfrm>
          <a:off x="6656134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123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081 (98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616 (29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465 (69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42 (2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7 (0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5 (1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00569" y="11552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491637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823713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823713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823713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823713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491637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04615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04615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823713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04615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04615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823713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491637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19738159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cs-CZ" u="sng" dirty="0"/>
              <a:t>12-15 let</a:t>
            </a:r>
            <a:r>
              <a:rPr lang="cs-CZ" dirty="0"/>
              <a:t> mezi 12.4 – 2.7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801393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382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4 135 (94,4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 400 (31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 735 (62,4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47 (5,6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36 (3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11 (2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graphicFrame>
        <p:nvGraphicFramePr>
          <p:cNvPr id="35" name="Table 39">
            <a:extLst>
              <a:ext uri="{FF2B5EF4-FFF2-40B4-BE49-F238E27FC236}">
                <a16:creationId xmlns:a16="http://schemas.microsoft.com/office/drawing/2014/main" id="{ECF8D81E-48FD-47AC-95EA-897CD0D322D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74196625"/>
              </p:ext>
            </p:extLst>
          </p:nvPr>
        </p:nvGraphicFramePr>
        <p:xfrm>
          <a:off x="6684709" y="2009735"/>
          <a:ext cx="5500086" cy="4432769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7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851 (97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6253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73 (31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578 (66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5 (2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7 (1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8 (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cxnSp>
        <p:nvCxnSpPr>
          <p:cNvPr id="36" name="Connector: Elbow 41">
            <a:extLst>
              <a:ext uri="{FF2B5EF4-FFF2-40B4-BE49-F238E27FC236}">
                <a16:creationId xmlns:a16="http://schemas.microsoft.com/office/drawing/2014/main" id="{A857519A-CA40-411D-980E-698A4B9412F3}"/>
              </a:ext>
            </a:extLst>
          </p:cNvPr>
          <p:cNvCxnSpPr>
            <a:cxnSpLocks/>
            <a:stCxn id="56" idx="2"/>
            <a:endCxn id="59" idx="2"/>
          </p:cNvCxnSpPr>
          <p:nvPr/>
        </p:nvCxnSpPr>
        <p:spPr>
          <a:xfrm rot="10800000" flipH="1" flipV="1">
            <a:off x="6520212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42">
            <a:extLst>
              <a:ext uri="{FF2B5EF4-FFF2-40B4-BE49-F238E27FC236}">
                <a16:creationId xmlns:a16="http://schemas.microsoft.com/office/drawing/2014/main" id="{11C712BA-6083-45F2-BAC7-D646EB9DCE80}"/>
              </a:ext>
            </a:extLst>
          </p:cNvPr>
          <p:cNvCxnSpPr>
            <a:cxnSpLocks/>
            <a:stCxn id="62" idx="2"/>
            <a:endCxn id="57" idx="2"/>
          </p:cNvCxnSpPr>
          <p:nvPr/>
        </p:nvCxnSpPr>
        <p:spPr>
          <a:xfrm rot="10800000" flipH="1" flipV="1">
            <a:off x="6852288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43">
            <a:extLst>
              <a:ext uri="{FF2B5EF4-FFF2-40B4-BE49-F238E27FC236}">
                <a16:creationId xmlns:a16="http://schemas.microsoft.com/office/drawing/2014/main" id="{244AF209-2F82-4B3B-8771-D86CB9D0AA7C}"/>
              </a:ext>
            </a:extLst>
          </p:cNvPr>
          <p:cNvCxnSpPr>
            <a:cxnSpLocks/>
            <a:stCxn id="62" idx="2"/>
            <a:endCxn id="58" idx="2"/>
          </p:cNvCxnSpPr>
          <p:nvPr/>
        </p:nvCxnSpPr>
        <p:spPr>
          <a:xfrm rot="10800000" flipH="1" flipV="1">
            <a:off x="6852288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44">
            <a:extLst>
              <a:ext uri="{FF2B5EF4-FFF2-40B4-BE49-F238E27FC236}">
                <a16:creationId xmlns:a16="http://schemas.microsoft.com/office/drawing/2014/main" id="{69C42B24-0189-4D75-B374-7EFD2DAAED66}"/>
              </a:ext>
            </a:extLst>
          </p:cNvPr>
          <p:cNvCxnSpPr>
            <a:cxnSpLocks/>
            <a:stCxn id="59" idx="2"/>
            <a:endCxn id="60" idx="2"/>
          </p:cNvCxnSpPr>
          <p:nvPr/>
        </p:nvCxnSpPr>
        <p:spPr>
          <a:xfrm rot="10800000" flipH="1" flipV="1">
            <a:off x="6852288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45">
            <a:extLst>
              <a:ext uri="{FF2B5EF4-FFF2-40B4-BE49-F238E27FC236}">
                <a16:creationId xmlns:a16="http://schemas.microsoft.com/office/drawing/2014/main" id="{7A50D906-639B-4F20-895A-E56E8A2F8918}"/>
              </a:ext>
            </a:extLst>
          </p:cNvPr>
          <p:cNvCxnSpPr>
            <a:cxnSpLocks/>
            <a:stCxn id="59" idx="2"/>
            <a:endCxn id="61" idx="2"/>
          </p:cNvCxnSpPr>
          <p:nvPr/>
        </p:nvCxnSpPr>
        <p:spPr>
          <a:xfrm rot="10800000" flipH="1" flipV="1">
            <a:off x="6852288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46">
            <a:extLst>
              <a:ext uri="{FF2B5EF4-FFF2-40B4-BE49-F238E27FC236}">
                <a16:creationId xmlns:a16="http://schemas.microsoft.com/office/drawing/2014/main" id="{2E8EBDA0-CEA2-4C7B-857F-599F39037B81}"/>
              </a:ext>
            </a:extLst>
          </p:cNvPr>
          <p:cNvSpPr/>
          <p:nvPr/>
        </p:nvSpPr>
        <p:spPr>
          <a:xfrm>
            <a:off x="6520212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47">
            <a:extLst>
              <a:ext uri="{FF2B5EF4-FFF2-40B4-BE49-F238E27FC236}">
                <a16:creationId xmlns:a16="http://schemas.microsoft.com/office/drawing/2014/main" id="{E8A199F8-C841-4529-BA30-699B96B16DED}"/>
              </a:ext>
            </a:extLst>
          </p:cNvPr>
          <p:cNvSpPr/>
          <p:nvPr/>
        </p:nvSpPr>
        <p:spPr>
          <a:xfrm>
            <a:off x="7333190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48">
            <a:extLst>
              <a:ext uri="{FF2B5EF4-FFF2-40B4-BE49-F238E27FC236}">
                <a16:creationId xmlns:a16="http://schemas.microsoft.com/office/drawing/2014/main" id="{2BEC8467-23A1-4CFC-BFCE-1383ECB0A7BD}"/>
              </a:ext>
            </a:extLst>
          </p:cNvPr>
          <p:cNvSpPr/>
          <p:nvPr/>
        </p:nvSpPr>
        <p:spPr>
          <a:xfrm>
            <a:off x="7333190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Oval 49">
            <a:extLst>
              <a:ext uri="{FF2B5EF4-FFF2-40B4-BE49-F238E27FC236}">
                <a16:creationId xmlns:a16="http://schemas.microsoft.com/office/drawing/2014/main" id="{6F449461-D626-4F4A-A5B9-452A8D2903AA}"/>
              </a:ext>
            </a:extLst>
          </p:cNvPr>
          <p:cNvSpPr/>
          <p:nvPr/>
        </p:nvSpPr>
        <p:spPr>
          <a:xfrm>
            <a:off x="6852288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Oval 50">
            <a:extLst>
              <a:ext uri="{FF2B5EF4-FFF2-40B4-BE49-F238E27FC236}">
                <a16:creationId xmlns:a16="http://schemas.microsoft.com/office/drawing/2014/main" id="{9728F3B6-94A4-47B6-8C2C-B3F52397DF90}"/>
              </a:ext>
            </a:extLst>
          </p:cNvPr>
          <p:cNvSpPr/>
          <p:nvPr/>
        </p:nvSpPr>
        <p:spPr>
          <a:xfrm>
            <a:off x="7333190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Oval 51">
            <a:extLst>
              <a:ext uri="{FF2B5EF4-FFF2-40B4-BE49-F238E27FC236}">
                <a16:creationId xmlns:a16="http://schemas.microsoft.com/office/drawing/2014/main" id="{CECD612A-9766-4A55-86EA-8C4A1F50DA1C}"/>
              </a:ext>
            </a:extLst>
          </p:cNvPr>
          <p:cNvSpPr/>
          <p:nvPr/>
        </p:nvSpPr>
        <p:spPr>
          <a:xfrm>
            <a:off x="7333190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Oval 52">
            <a:extLst>
              <a:ext uri="{FF2B5EF4-FFF2-40B4-BE49-F238E27FC236}">
                <a16:creationId xmlns:a16="http://schemas.microsoft.com/office/drawing/2014/main" id="{6E05142A-6F83-425E-96C8-385291A504C2}"/>
              </a:ext>
            </a:extLst>
          </p:cNvPr>
          <p:cNvSpPr/>
          <p:nvPr/>
        </p:nvSpPr>
        <p:spPr>
          <a:xfrm>
            <a:off x="6852288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3" name="Connector: Elbow 53">
            <a:extLst>
              <a:ext uri="{FF2B5EF4-FFF2-40B4-BE49-F238E27FC236}">
                <a16:creationId xmlns:a16="http://schemas.microsoft.com/office/drawing/2014/main" id="{58161BC0-4A37-4A9D-9532-DCC329AE9465}"/>
              </a:ext>
            </a:extLst>
          </p:cNvPr>
          <p:cNvCxnSpPr>
            <a:cxnSpLocks/>
            <a:stCxn id="56" idx="2"/>
            <a:endCxn id="62" idx="2"/>
          </p:cNvCxnSpPr>
          <p:nvPr/>
        </p:nvCxnSpPr>
        <p:spPr>
          <a:xfrm rot="10800000" flipH="1" flipV="1">
            <a:off x="6520212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40">
            <a:extLst>
              <a:ext uri="{FF2B5EF4-FFF2-40B4-BE49-F238E27FC236}">
                <a16:creationId xmlns:a16="http://schemas.microsoft.com/office/drawing/2014/main" id="{ED35EB35-A2D4-47EB-B714-BB760F562F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29144" y="11552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sp>
        <p:nvSpPr>
          <p:cNvPr id="34" name="TextovéPole 33"/>
          <p:cNvSpPr txBox="1"/>
          <p:nvPr>
            <p:custDataLst>
              <p:tags r:id="rId7"/>
            </p:custDataLst>
          </p:nvPr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30004152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5 let</a:t>
            </a:r>
            <a:r>
              <a:rPr lang="cs-CZ" dirty="0"/>
              <a:t> mezi 14.6 – 2.7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537009"/>
              </p:ext>
            </p:extLst>
          </p:nvPr>
        </p:nvGraphicFramePr>
        <p:xfrm>
          <a:off x="700436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33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318 (95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55 (16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63 (79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5 (4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5 (1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0 (3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202907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4.6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71373526"/>
              </p:ext>
            </p:extLst>
          </p:nvPr>
        </p:nvGraphicFramePr>
        <p:xfrm>
          <a:off x="6751384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9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9 (10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1 (15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58 (84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5819" y="1202907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4.6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586887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918963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918963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918963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918963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586887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99865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99865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918963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99865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99865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918963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586887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329899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1902261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</a:t>
            </a:r>
            <a:r>
              <a:rPr lang="en-US" u="sng" dirty="0"/>
              <a:t>1</a:t>
            </a:r>
            <a:r>
              <a:rPr lang="cs-CZ" u="sng" dirty="0"/>
              <a:t> let</a:t>
            </a:r>
            <a:r>
              <a:rPr lang="cs-CZ" dirty="0"/>
              <a:t> mezi 14.6 – 2.7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564690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55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49 (96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4 (15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25 (80,6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6 (3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3 (1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3 (1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4.6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1498192"/>
              </p:ext>
            </p:extLst>
          </p:nvPr>
        </p:nvGraphicFramePr>
        <p:xfrm>
          <a:off x="6656134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9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39 (10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8 (20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31 (79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00569" y="11552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4.6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491637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823713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823713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823713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823713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491637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04615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04615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823713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04615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04615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823713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491637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2042422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63022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Tato analýza uzavírá</a:t>
            </a:r>
            <a:r>
              <a:rPr kumimoji="0" lang="cs-CZ" sz="3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hlášení testů ze škol za 1. pololetí 2021 </a:t>
            </a:r>
            <a:endParaRPr kumimoji="0" lang="cs-CZ" sz="34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Testy</a:t>
            </a:r>
            <a:r>
              <a:rPr kumimoji="0" lang="cs-CZ" sz="28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prováděné přímo ve školách byly školami </a:t>
            </a:r>
            <a:r>
              <a:rPr kumimoji="0" lang="cs-CZ" sz="2800" i="0" u="none" strike="noStrike" kern="120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agregovaně</a:t>
            </a:r>
            <a:r>
              <a:rPr kumimoji="0" lang="cs-CZ" sz="28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  <a:endParaRPr kumimoji="0" lang="cs-CZ" sz="280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nahlášených dat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yplývá,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že testy prováděné ve školách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eindikovaly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ystémový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 plošný rizikový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ývoj či kontinuální eskalaci v šíření epidemie.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nto závěr je ve shodě s šetřením KHS, které rovněž nehlásily eskalaci počtu ohnisek a rizikových událostí. </a:t>
            </a: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  <a:cs typeface="Arial" panose="020B0604020202020204" pitchFamily="34" charset="0"/>
              </a:rPr>
              <a:t>V závěru školního roku byl avšak v mnoha krajích zachycen růst počtu nákaz mezi dětmi a mladistvými ve věkových kategoriích 12 – 19 let. Pouze u části (max. 30%) těchto nákaz byla prokázána souvislost se školním kolektivem a návštěvou školy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201" y="975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05857" y="602685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6601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cs-CZ" u="sng" dirty="0"/>
              <a:t>12-15 let</a:t>
            </a:r>
            <a:r>
              <a:rPr lang="cs-CZ" dirty="0"/>
              <a:t> mezi 14.6 – 2.7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385460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78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69 (94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31 (17,4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38 (77,5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9 (5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2 (1,1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7 (3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4.6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graphicFrame>
        <p:nvGraphicFramePr>
          <p:cNvPr id="35" name="Table 39">
            <a:extLst>
              <a:ext uri="{FF2B5EF4-FFF2-40B4-BE49-F238E27FC236}">
                <a16:creationId xmlns:a16="http://schemas.microsoft.com/office/drawing/2014/main" id="{ECF8D81E-48FD-47AC-95EA-897CD0D322D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4406597"/>
              </p:ext>
            </p:extLst>
          </p:nvPr>
        </p:nvGraphicFramePr>
        <p:xfrm>
          <a:off x="6684709" y="2009735"/>
          <a:ext cx="5500086" cy="4432769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0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30 (10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6253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3 (1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7 (9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0 (0,0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cxnSp>
        <p:nvCxnSpPr>
          <p:cNvPr id="36" name="Connector: Elbow 41">
            <a:extLst>
              <a:ext uri="{FF2B5EF4-FFF2-40B4-BE49-F238E27FC236}">
                <a16:creationId xmlns:a16="http://schemas.microsoft.com/office/drawing/2014/main" id="{A857519A-CA40-411D-980E-698A4B9412F3}"/>
              </a:ext>
            </a:extLst>
          </p:cNvPr>
          <p:cNvCxnSpPr>
            <a:cxnSpLocks/>
            <a:stCxn id="56" idx="2"/>
            <a:endCxn id="59" idx="2"/>
          </p:cNvCxnSpPr>
          <p:nvPr/>
        </p:nvCxnSpPr>
        <p:spPr>
          <a:xfrm rot="10800000" flipH="1" flipV="1">
            <a:off x="6520212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42">
            <a:extLst>
              <a:ext uri="{FF2B5EF4-FFF2-40B4-BE49-F238E27FC236}">
                <a16:creationId xmlns:a16="http://schemas.microsoft.com/office/drawing/2014/main" id="{11C712BA-6083-45F2-BAC7-D646EB9DCE80}"/>
              </a:ext>
            </a:extLst>
          </p:cNvPr>
          <p:cNvCxnSpPr>
            <a:cxnSpLocks/>
            <a:stCxn id="62" idx="2"/>
            <a:endCxn id="57" idx="2"/>
          </p:cNvCxnSpPr>
          <p:nvPr/>
        </p:nvCxnSpPr>
        <p:spPr>
          <a:xfrm rot="10800000" flipH="1" flipV="1">
            <a:off x="6852288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43">
            <a:extLst>
              <a:ext uri="{FF2B5EF4-FFF2-40B4-BE49-F238E27FC236}">
                <a16:creationId xmlns:a16="http://schemas.microsoft.com/office/drawing/2014/main" id="{244AF209-2F82-4B3B-8771-D86CB9D0AA7C}"/>
              </a:ext>
            </a:extLst>
          </p:cNvPr>
          <p:cNvCxnSpPr>
            <a:cxnSpLocks/>
            <a:stCxn id="62" idx="2"/>
            <a:endCxn id="58" idx="2"/>
          </p:cNvCxnSpPr>
          <p:nvPr/>
        </p:nvCxnSpPr>
        <p:spPr>
          <a:xfrm rot="10800000" flipH="1" flipV="1">
            <a:off x="6852288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44">
            <a:extLst>
              <a:ext uri="{FF2B5EF4-FFF2-40B4-BE49-F238E27FC236}">
                <a16:creationId xmlns:a16="http://schemas.microsoft.com/office/drawing/2014/main" id="{69C42B24-0189-4D75-B374-7EFD2DAAED66}"/>
              </a:ext>
            </a:extLst>
          </p:cNvPr>
          <p:cNvCxnSpPr>
            <a:cxnSpLocks/>
            <a:stCxn id="59" idx="2"/>
            <a:endCxn id="60" idx="2"/>
          </p:cNvCxnSpPr>
          <p:nvPr/>
        </p:nvCxnSpPr>
        <p:spPr>
          <a:xfrm rot="10800000" flipH="1" flipV="1">
            <a:off x="6852288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45">
            <a:extLst>
              <a:ext uri="{FF2B5EF4-FFF2-40B4-BE49-F238E27FC236}">
                <a16:creationId xmlns:a16="http://schemas.microsoft.com/office/drawing/2014/main" id="{7A50D906-639B-4F20-895A-E56E8A2F8918}"/>
              </a:ext>
            </a:extLst>
          </p:cNvPr>
          <p:cNvCxnSpPr>
            <a:cxnSpLocks/>
            <a:stCxn id="59" idx="2"/>
            <a:endCxn id="61" idx="2"/>
          </p:cNvCxnSpPr>
          <p:nvPr/>
        </p:nvCxnSpPr>
        <p:spPr>
          <a:xfrm rot="10800000" flipH="1" flipV="1">
            <a:off x="6852288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46">
            <a:extLst>
              <a:ext uri="{FF2B5EF4-FFF2-40B4-BE49-F238E27FC236}">
                <a16:creationId xmlns:a16="http://schemas.microsoft.com/office/drawing/2014/main" id="{2E8EBDA0-CEA2-4C7B-857F-599F39037B81}"/>
              </a:ext>
            </a:extLst>
          </p:cNvPr>
          <p:cNvSpPr/>
          <p:nvPr/>
        </p:nvSpPr>
        <p:spPr>
          <a:xfrm>
            <a:off x="6520212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47">
            <a:extLst>
              <a:ext uri="{FF2B5EF4-FFF2-40B4-BE49-F238E27FC236}">
                <a16:creationId xmlns:a16="http://schemas.microsoft.com/office/drawing/2014/main" id="{E8A199F8-C841-4529-BA30-699B96B16DED}"/>
              </a:ext>
            </a:extLst>
          </p:cNvPr>
          <p:cNvSpPr/>
          <p:nvPr/>
        </p:nvSpPr>
        <p:spPr>
          <a:xfrm>
            <a:off x="7333190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48">
            <a:extLst>
              <a:ext uri="{FF2B5EF4-FFF2-40B4-BE49-F238E27FC236}">
                <a16:creationId xmlns:a16="http://schemas.microsoft.com/office/drawing/2014/main" id="{2BEC8467-23A1-4CFC-BFCE-1383ECB0A7BD}"/>
              </a:ext>
            </a:extLst>
          </p:cNvPr>
          <p:cNvSpPr/>
          <p:nvPr/>
        </p:nvSpPr>
        <p:spPr>
          <a:xfrm>
            <a:off x="7333190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Oval 49">
            <a:extLst>
              <a:ext uri="{FF2B5EF4-FFF2-40B4-BE49-F238E27FC236}">
                <a16:creationId xmlns:a16="http://schemas.microsoft.com/office/drawing/2014/main" id="{6F449461-D626-4F4A-A5B9-452A8D2903AA}"/>
              </a:ext>
            </a:extLst>
          </p:cNvPr>
          <p:cNvSpPr/>
          <p:nvPr/>
        </p:nvSpPr>
        <p:spPr>
          <a:xfrm>
            <a:off x="6852288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Oval 50">
            <a:extLst>
              <a:ext uri="{FF2B5EF4-FFF2-40B4-BE49-F238E27FC236}">
                <a16:creationId xmlns:a16="http://schemas.microsoft.com/office/drawing/2014/main" id="{9728F3B6-94A4-47B6-8C2C-B3F52397DF90}"/>
              </a:ext>
            </a:extLst>
          </p:cNvPr>
          <p:cNvSpPr/>
          <p:nvPr/>
        </p:nvSpPr>
        <p:spPr>
          <a:xfrm>
            <a:off x="7333190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Oval 51">
            <a:extLst>
              <a:ext uri="{FF2B5EF4-FFF2-40B4-BE49-F238E27FC236}">
                <a16:creationId xmlns:a16="http://schemas.microsoft.com/office/drawing/2014/main" id="{CECD612A-9766-4A55-86EA-8C4A1F50DA1C}"/>
              </a:ext>
            </a:extLst>
          </p:cNvPr>
          <p:cNvSpPr/>
          <p:nvPr/>
        </p:nvSpPr>
        <p:spPr>
          <a:xfrm>
            <a:off x="7333190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Oval 52">
            <a:extLst>
              <a:ext uri="{FF2B5EF4-FFF2-40B4-BE49-F238E27FC236}">
                <a16:creationId xmlns:a16="http://schemas.microsoft.com/office/drawing/2014/main" id="{6E05142A-6F83-425E-96C8-385291A504C2}"/>
              </a:ext>
            </a:extLst>
          </p:cNvPr>
          <p:cNvSpPr/>
          <p:nvPr/>
        </p:nvSpPr>
        <p:spPr>
          <a:xfrm>
            <a:off x="6852288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3" name="Connector: Elbow 53">
            <a:extLst>
              <a:ext uri="{FF2B5EF4-FFF2-40B4-BE49-F238E27FC236}">
                <a16:creationId xmlns:a16="http://schemas.microsoft.com/office/drawing/2014/main" id="{58161BC0-4A37-4A9D-9532-DCC329AE9465}"/>
              </a:ext>
            </a:extLst>
          </p:cNvPr>
          <p:cNvCxnSpPr>
            <a:cxnSpLocks/>
            <a:stCxn id="56" idx="2"/>
            <a:endCxn id="62" idx="2"/>
          </p:cNvCxnSpPr>
          <p:nvPr/>
        </p:nvCxnSpPr>
        <p:spPr>
          <a:xfrm rot="10800000" flipH="1" flipV="1">
            <a:off x="6520212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40">
            <a:extLst>
              <a:ext uri="{FF2B5EF4-FFF2-40B4-BE49-F238E27FC236}">
                <a16:creationId xmlns:a16="http://schemas.microsoft.com/office/drawing/2014/main" id="{ED35EB35-A2D4-47EB-B714-BB760F562F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29144" y="11552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4.6. – 2.7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22484898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 - celkový přehle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>
            <p:custDataLst>
              <p:tags r:id="rId3"/>
            </p:custDataLst>
          </p:nvPr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1DC8F07-FFDD-4871-9629-52F0C04A624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13905192"/>
              </p:ext>
            </p:extLst>
          </p:nvPr>
        </p:nvGraphicFramePr>
        <p:xfrm>
          <a:off x="133165" y="1935331"/>
          <a:ext cx="11887388" cy="2651977"/>
        </p:xfrm>
        <a:graphic>
          <a:graphicData uri="http://schemas.openxmlformats.org/drawingml/2006/table">
            <a:tbl>
              <a:tblPr/>
              <a:tblGrid>
                <a:gridCol w="625652">
                  <a:extLst>
                    <a:ext uri="{9D8B030D-6E8A-4147-A177-3AD203B41FA5}">
                      <a16:colId xmlns:a16="http://schemas.microsoft.com/office/drawing/2014/main" val="1621227975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170041654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96909576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3356088150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1057516325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2337484385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2249278285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2072873659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4064593360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3803288855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2950969407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1550286559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3054549765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911307177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1788458372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2464867625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232770110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2573820766"/>
                    </a:ext>
                  </a:extLst>
                </a:gridCol>
                <a:gridCol w="625652">
                  <a:extLst>
                    <a:ext uri="{9D8B030D-6E8A-4147-A177-3AD203B41FA5}">
                      <a16:colId xmlns:a16="http://schemas.microsoft.com/office/drawing/2014/main" val="3406886417"/>
                    </a:ext>
                  </a:extLst>
                </a:gridCol>
              </a:tblGrid>
              <a:tr h="470518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4.-2.7.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5.-31.5.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6.-13.6.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6.-20.6.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6.-27.6.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6.-2.7.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5877734"/>
                  </a:ext>
                </a:extLst>
              </a:tr>
              <a:tr h="648069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všechny záchyty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nákaza pravděpodobně ve škole*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díl záchytů ve škole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všechny záchyty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nákaza pravděpodobně ve škole*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díl záchytů ve škole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všechny záchyty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nákaza pravděpodobně ve škole*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díl záchytů ve škole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všechny záchyty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nákaza pravděpodobně ve škole*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díl záchytů ve škole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všechny záchyty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nákaza pravděpodobně ve škole*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díl záchytů ve škole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všechny záchyty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nákaza pravděpodobně ve škole*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odíl záchytů ve škole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601210"/>
                  </a:ext>
                </a:extLst>
              </a:tr>
              <a:tr h="31129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-11 let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51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3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11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1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9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78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80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10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93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739693"/>
                  </a:ext>
                </a:extLst>
              </a:tr>
              <a:tr h="61105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-15 let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2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6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9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9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6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09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84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78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5179"/>
                  </a:ext>
                </a:extLst>
              </a:tr>
              <a:tr h="61105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-19 let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51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1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9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5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6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6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97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%</a:t>
                      </a:r>
                    </a:p>
                  </a:txBody>
                  <a:tcPr marL="6918" marR="6918" marT="6918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4841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97904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Celkové počty nově potvrzených případů </a:t>
            </a:r>
          </a:p>
          <a:p>
            <a:r>
              <a:rPr lang="cs-CZ" sz="4000" b="1" dirty="0"/>
              <a:t>dětí v populaci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32456629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573685"/>
              </p:ext>
            </p:ext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95472" y="1127340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848812" y="1491412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859130" y="1796841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</a:t>
            </a:r>
            <a:r>
              <a:rPr kumimoji="0" lang="cs-CZ" sz="1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Š v rotačním režimu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846783" y="2634027"/>
            <a:ext cx="0" cy="7328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842323" y="1218384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200" b="1" i="1" dirty="0">
                <a:solidFill>
                  <a:srgbClr val="000000"/>
                </a:solidFill>
              </a:rPr>
              <a:t>26. 4. MŠ otevřeny zcela, SŠ a VOŠ praktické vyučování v PLK, HKK, KVK </a:t>
            </a:r>
            <a:br>
              <a:rPr lang="cs-CZ" sz="1200" b="1" i="1" dirty="0">
                <a:solidFill>
                  <a:srgbClr val="000000"/>
                </a:solidFill>
              </a:rPr>
            </a:br>
            <a:r>
              <a:rPr lang="cs-CZ" sz="1200" b="1" i="1" dirty="0">
                <a:solidFill>
                  <a:srgbClr val="000000"/>
                </a:solidFill>
              </a:rPr>
              <a:t>od 3. 5. dále STC, LBK, PAK, PHA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 s rozšířením rotační výuky 2. st. ZŠ a od 10. 5. ve zbývajících krajích</a:t>
            </a:r>
            <a:endParaRPr lang="cs-CZ" sz="1200" b="1" i="1" dirty="0">
              <a:solidFill>
                <a:srgbClr val="000000"/>
              </a:solidFill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74045" y="212000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489990" y="2120005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6923059" y="2120005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délník 24">
            <a:extLst>
              <a:ext uri="{FF2B5EF4-FFF2-40B4-BE49-F238E27FC236}">
                <a16:creationId xmlns:a16="http://schemas.microsoft.com/office/drawing/2014/main" id="{4A04FA6A-EEB4-4FF4-9BD1-4386B1D6021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318978" y="2246369"/>
            <a:ext cx="1715973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cs-CZ" sz="1200" b="1" i="1" dirty="0">
                <a:solidFill>
                  <a:srgbClr val="000000"/>
                </a:solidFill>
              </a:rPr>
              <a:t>Od 24. 5. otevřeny ZŠ, SŠ, VOŠ a VŠ bez rotací v celé ČR</a:t>
            </a:r>
          </a:p>
        </p:txBody>
      </p: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71FE04E3-67E6-4683-92EE-30E00135062E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7781312" y="2907420"/>
            <a:ext cx="0" cy="18085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71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Graf 16">
            <a:extLst>
              <a:ext uri="{FF2B5EF4-FFF2-40B4-BE49-F238E27FC236}">
                <a16:creationId xmlns:a16="http://schemas.microsoft.com/office/drawing/2014/main" id="{82435891-AD00-4FB1-A73A-2B68645AA38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743243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1" name="Graf 16">
            <a:extLst>
              <a:ext uri="{FF2B5EF4-FFF2-40B4-BE49-F238E27FC236}">
                <a16:creationId xmlns:a16="http://schemas.microsoft.com/office/drawing/2014/main" id="{7266C885-8B68-464B-99FA-0474E08AA17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19365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testů na 100 tis. dětí v čase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-35890" y="160091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47366162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26422614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78129059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55238931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7A93131A-8E01-44B7-A2A2-A1EFEC4360B8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813685" y="5545599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49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2487157-9490-45CB-A4BF-887D09526716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992129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351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8AD0D1D-DDE7-45FA-A69D-268EA000744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414538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3 662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191FCF-0AC0-4145-960F-283F6CCEFCEF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876412" y="2513080"/>
            <a:ext cx="81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 261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685E3DA0-21F5-4650-971E-957CCD67CF9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876413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21 975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A804B45-F645-487E-B6EF-5C2CC8EDA31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334250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5 783</a:t>
            </a:r>
          </a:p>
        </p:txBody>
      </p:sp>
    </p:spTree>
    <p:extLst>
      <p:ext uri="{BB962C8B-B14F-4D97-AF65-F5344CB8AC3E}">
        <p14:creationId xmlns:p14="http://schemas.microsoft.com/office/powerpoint/2010/main" val="25380028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20851564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55761073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75694267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61607129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65283005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36774201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CE9A74F-9B0B-496A-B293-40F27E8937B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2745678" y="5545599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49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94CEE50C-5D1E-45D8-B846-512F312F9F0A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2924122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351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B3A0E417-EEC0-47C4-9409-B3FDADED936B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045362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3 662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3C350B56-0639-4B84-B704-BB5A69C425B8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573028" y="2534294"/>
            <a:ext cx="81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 261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4365654B-4924-4A52-BC53-E8E7ACF20940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9808406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21 975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F21C5D57-F623-4656-88A7-5E48FB9B3F7C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986328" y="5593009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5 783</a:t>
            </a:r>
          </a:p>
        </p:txBody>
      </p:sp>
    </p:spTree>
    <p:extLst>
      <p:ext uri="{BB962C8B-B14F-4D97-AF65-F5344CB8AC3E}">
        <p14:creationId xmlns:p14="http://schemas.microsoft.com/office/powerpoint/2010/main" val="31149241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8603" y="3633937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.7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0889897"/>
              </p:ext>
            </p:ext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2.7.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402AE3F-0527-47EC-A054-0F2CB5E32C7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29748" y="2148477"/>
            <a:ext cx="324317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ty nově nakažených dětí ve věku 0 – 4 let za sledované období ve všech krajích klesají. 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Žádný region nevykazuje rizikově zvýšený výskyt nakažených v této věkové kategorii.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5" name="TextBox 21">
            <a:extLst>
              <a:ext uri="{FF2B5EF4-FFF2-40B4-BE49-F238E27FC236}">
                <a16:creationId xmlns:a16="http://schemas.microsoft.com/office/drawing/2014/main" id="{30D20194-9F23-4A1C-BB0B-A2FD3C66F29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9393250"/>
              </p:ext>
            </p:extLst>
          </p:nvPr>
        </p:nvGraphicFramePr>
        <p:xfrm>
          <a:off x="71824" y="1253263"/>
          <a:ext cx="4483551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42940253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1475" y="2637176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209004"/>
              </p:ext>
            </p:extLst>
          </p:nvPr>
        </p:nvGraphicFramePr>
        <p:xfrm>
          <a:off x="55986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.7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1774565"/>
              </p:ext>
            </p:ext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199B8A-F6F3-4DFE-BF90-70294CC448A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29748" y="2149019"/>
            <a:ext cx="32707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ty nově nakažených dětí ve věku 5 – 11 let za sledované období ve všech krajích klesají. </a:t>
            </a: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Žádný region nevykazuje rizikově zvýšený výskyt nakažených v této věkové kategorii.</a:t>
            </a: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14">
            <a:extLst>
              <a:ext uri="{FF2B5EF4-FFF2-40B4-BE49-F238E27FC236}">
                <a16:creationId xmlns:a16="http://schemas.microsoft.com/office/drawing/2014/main" id="{3E8997C8-A2E7-4890-A586-B593F0FF343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47A06C4E-0A27-47D8-BCC6-3883AAEE5BF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49AC28EB-F5AA-4332-A257-15B1D05DC64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DBC47D66-8C9F-43A2-825F-7BCC2813B18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21">
            <a:extLst>
              <a:ext uri="{FF2B5EF4-FFF2-40B4-BE49-F238E27FC236}">
                <a16:creationId xmlns:a16="http://schemas.microsoft.com/office/drawing/2014/main" id="{367C8D1D-5192-4819-9FA6-48C75217943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2" name="Rectangle 20">
            <a:extLst>
              <a:ext uri="{FF2B5EF4-FFF2-40B4-BE49-F238E27FC236}">
                <a16:creationId xmlns:a16="http://schemas.microsoft.com/office/drawing/2014/main" id="{5537C3B7-F715-4306-9950-1270004832C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21">
            <a:extLst>
              <a:ext uri="{FF2B5EF4-FFF2-40B4-BE49-F238E27FC236}">
                <a16:creationId xmlns:a16="http://schemas.microsoft.com/office/drawing/2014/main" id="{61088984-AAFE-4028-8B0F-1EF83E4FABA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2.7.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</a:p>
        </p:txBody>
      </p:sp>
      <p:sp>
        <p:nvSpPr>
          <p:cNvPr id="34" name="TextBox 21">
            <a:extLst>
              <a:ext uri="{FF2B5EF4-FFF2-40B4-BE49-F238E27FC236}">
                <a16:creationId xmlns:a16="http://schemas.microsoft.com/office/drawing/2014/main" id="{6020A04D-603E-4D9A-A16E-908A30E31851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25378419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9053" y="3343204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078574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.7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87364584"/>
              </p:ext>
            </p:ext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635356" y="1656287"/>
            <a:ext cx="342759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ty nově nakažených dětí ve věku 12 – 19 let za sledované období ve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ětšině krajů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sají.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ýjimkou je Praha. 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Hl. m.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ha, a dále Plzeňský kraj a kraj Liberec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14">
            <a:extLst>
              <a:ext uri="{FF2B5EF4-FFF2-40B4-BE49-F238E27FC236}">
                <a16:creationId xmlns:a16="http://schemas.microsoft.com/office/drawing/2014/main" id="{636E20C5-278B-4843-B828-25F6010C7A8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AD24443A-551E-46AB-8380-337CE3058CF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2C3B1C45-C98E-4CF6-BA83-C6D957D8B57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24CABFC9-F99D-4419-9DCB-A799FFF5DC7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3A061EEF-62AA-4DBF-9F38-29EBC6DBB32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D8D9F8EE-99F4-4C33-90AD-9DF7729C58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22E31EBC-5C6A-41FB-A7B6-DC4198287DA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2.7.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03EEC918-9A4F-4673-9B4A-B29EFFC8850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42668786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85641" y="3693394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655366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.7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</a:t>
            </a:r>
            <a:r>
              <a:rPr lang="cs-CZ" sz="2000" dirty="0">
                <a:latin typeface="+mn-lt"/>
              </a:rPr>
              <a:t>5</a:t>
            </a:r>
            <a:r>
              <a:rPr lang="en-US" sz="2000" dirty="0">
                <a:latin typeface="+mn-lt"/>
              </a:rPr>
              <a:t>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81260594"/>
              </p:ext>
            </p:ext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49748" y="1907298"/>
            <a:ext cx="342759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kraj Plzeňský a Zlíns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14">
            <a:extLst>
              <a:ext uri="{FF2B5EF4-FFF2-40B4-BE49-F238E27FC236}">
                <a16:creationId xmlns:a16="http://schemas.microsoft.com/office/drawing/2014/main" id="{9E17C7D9-2A44-418B-A194-187E9F452EE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D4859556-B68A-4F23-9579-07D7B68ACE6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A234FE2C-CC7D-47EA-90B6-9DE923D5AC0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0420EA72-4ADF-415F-AF81-F367D5CC205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BA5FE030-749C-42E8-B17A-83464E0CC3E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7F9128A7-5350-4C99-ABDE-6872BBCDAB8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8F130A09-7EF9-47DC-931F-CBFDD76CE47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2.7.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8C50F218-951C-4185-8491-81A374E9F46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3397654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92454D-DD98-4298-B7F5-F6E7FDB992A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8577"/>
            <a:ext cx="11686436" cy="576000"/>
          </a:xfrm>
        </p:spPr>
        <p:txBody>
          <a:bodyPr/>
          <a:lstStyle/>
          <a:p>
            <a:pPr algn="ctr"/>
            <a:r>
              <a:rPr lang="cs-CZ" sz="2400" dirty="0"/>
              <a:t>Harmonogram otevírání školských zařízení v krajích ČR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B917A4C-0A6E-4A20-B4B4-7BEC1A524DC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23843" y="837488"/>
          <a:ext cx="10263501" cy="5435344"/>
        </p:xfrm>
        <a:graphic>
          <a:graphicData uri="http://schemas.openxmlformats.org/drawingml/2006/table">
            <a:tbl>
              <a:tblPr/>
              <a:tblGrid>
                <a:gridCol w="1557713">
                  <a:extLst>
                    <a:ext uri="{9D8B030D-6E8A-4147-A177-3AD203B41FA5}">
                      <a16:colId xmlns:a16="http://schemas.microsoft.com/office/drawing/2014/main" val="121576139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1935044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652802359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22872413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5015731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711309026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41985561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3161230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4501224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83752418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265492353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285019563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08247929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78618505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676138909"/>
                    </a:ext>
                  </a:extLst>
                </a:gridCol>
              </a:tblGrid>
              <a:tr h="58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atum změny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HA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291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- předškolní děti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5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bez roušek a testování dětí (pouze zaměstnanci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- 1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rotačně, 2x týdně testy a roušky 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44067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3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9435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3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, ZŠ - 2.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1-15 let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č. niž. st.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)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tačně, test 2x týdně (1. st. 1x týdně),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0514397"/>
                  </a:ext>
                </a:extLst>
              </a:tr>
              <a:tr h="785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MŠ zcela, ZŠ - 2. stupeň (vč. niž.st. gymnázií) rotačně, test 2x týdně (1. st. 1x týdně), 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tevření škol ve zbývajících krajích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le režimu z 3. 5. 2021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9456110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(</a:t>
                      </a:r>
                      <a:r>
                        <a:rPr lang="pl-PL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5 let</a:t>
                      </a: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zcela a bez rotací (test 1x týdně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rotací 1. stupeň ZŠ (2. st. 2x týdně test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23525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stupeň ZŠ bez rotací v celé ČR (test 1x týdně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oretická výuka bez rotací (test 1x týdně) na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2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a V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5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919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74211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2982637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.7.</a:t>
            </a:r>
            <a:r>
              <a:rPr lang="en-US" sz="2000" dirty="0">
                <a:latin typeface="+mn-lt"/>
              </a:rPr>
              <a:t>: 1</a:t>
            </a:r>
            <a:r>
              <a:rPr lang="cs-CZ" sz="2000" dirty="0">
                <a:latin typeface="+mn-lt"/>
              </a:rPr>
              <a:t>6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54787918"/>
              </p:ext>
            </p:ext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39748" y="2167029"/>
            <a:ext cx="342759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l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.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ha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ále kraj Liberecký </a:t>
            </a:r>
            <a:r>
              <a:rPr lang="cs-CZ" sz="2000" b="1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lzeňský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12528491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Rectangle 14">
            <a:extLst>
              <a:ext uri="{FF2B5EF4-FFF2-40B4-BE49-F238E27FC236}">
                <a16:creationId xmlns:a16="http://schemas.microsoft.com/office/drawing/2014/main" id="{EA6A406A-C661-42B5-BBFC-33B92B97D48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0D902561-A8EB-4750-9983-BF82DDBB28F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651BC136-9277-4AE5-B516-D30F9EA2413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1347DB51-C0E1-455C-88FF-160C24502C4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4445497F-A440-4CE6-AF64-9446D8160F9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B4C9B785-1505-4FDA-B4D6-29AA09C42E7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B708C462-AFD8-48C0-AD62-E8F4F8F0E1F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2.7.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C11664E6-CBB7-4E5E-839F-F47B476661A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434661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umulativní počet testů provedených přímo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3. 7. 2021 16:00 -&gt; celkový přehled bez dělení dle věkových skupin žáků</a:t>
            </a:r>
            <a:endParaRPr lang="cs-CZ" sz="1400" i="1" dirty="0"/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1004397"/>
              </p:ext>
            </p:extLst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>
                  <a:solidFill>
                    <a:srgbClr val="000000"/>
                  </a:solidFill>
                </a:rPr>
                <a:t>Žáci</a:t>
              </a:r>
              <a:endParaRPr lang="cs-CZ" sz="1400" i="1" dirty="0"/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/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8042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2.7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523081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35196" y="1893272"/>
            <a:ext cx="1475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žáci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60695460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48827" y="1902635"/>
            <a:ext cx="23182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zaměstnanci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3. 7. 2021 16:00</a:t>
            </a:r>
            <a:endParaRPr lang="cs-CZ" sz="1400" i="1" dirty="0"/>
          </a:p>
        </p:txBody>
      </p:sp>
      <p:sp>
        <p:nvSpPr>
          <p:cNvPr id="2" name="Obdélník 1"/>
          <p:cNvSpPr/>
          <p:nvPr/>
        </p:nvSpPr>
        <p:spPr>
          <a:xfrm>
            <a:off x="1243240" y="1031009"/>
            <a:ext cx="107773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Celkové absolutní počty pozitivních záchy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34314" y="1639506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646254" y="1639506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9659569" y="5630645"/>
            <a:ext cx="265697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1675267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2.7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153049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53168019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3. 7. 2021 16:00</a:t>
            </a:r>
            <a:endParaRPr lang="cs-CZ" sz="1400" i="1" dirty="0"/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Počty pozitivních záchytů na 100 tisíc tes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10007960" y="541520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2335711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dle krajů (přepočet na 100tis. testů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DEE0DB2-2682-4D37-A37F-9BFB1E10B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2167989"/>
              </p:ext>
            </p:extLst>
          </p:nvPr>
        </p:nvGraphicFramePr>
        <p:xfrm>
          <a:off x="164994" y="704674"/>
          <a:ext cx="11584512" cy="57688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2416">
                  <a:extLst>
                    <a:ext uri="{9D8B030D-6E8A-4147-A177-3AD203B41FA5}">
                      <a16:colId xmlns:a16="http://schemas.microsoft.com/office/drawing/2014/main" val="187592025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692636823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273268959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385100031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152331077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217694765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80837993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452173516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011977694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17754862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63920331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18223742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402046036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275635768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359331964"/>
                    </a:ext>
                  </a:extLst>
                </a:gridCol>
              </a:tblGrid>
              <a:tr h="418640"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Počet pozitivních žáků na 100 000 testů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Počet pozitivních zaměstnanců na 100 000 testů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079627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1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3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1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>
                          <a:effectLst/>
                          <a:latin typeface="+mj-lt"/>
                        </a:rPr>
                        <a:t>Týden 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>
                          <a:effectLst/>
                          <a:latin typeface="+mj-lt"/>
                        </a:rPr>
                        <a:t>Týden 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005095"/>
                  </a:ext>
                </a:extLst>
              </a:tr>
              <a:tr h="418640"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6. –20.6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6 – 27.6.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6 –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. 7.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6. –20.6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6 – 27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6 –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. 7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432302"/>
                  </a:ext>
                </a:extLst>
              </a:tr>
              <a:tr h="36955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Hlavní město Prah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1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7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6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4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,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1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498492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Středoče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137651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Jihoče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3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153328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Plzeň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8337266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>
                          <a:effectLst/>
                          <a:latin typeface="+mj-lt"/>
                        </a:rPr>
                        <a:t>Karlovarský kraj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337246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Úst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1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6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,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8249927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Liber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5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200003"/>
                  </a:ext>
                </a:extLst>
              </a:tr>
              <a:tr h="41864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Královéhrad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7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9770394"/>
                  </a:ext>
                </a:extLst>
              </a:tr>
              <a:tr h="307637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Pardubi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3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9861970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Kraj Vysočin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,2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,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073110"/>
                  </a:ext>
                </a:extLst>
              </a:tr>
              <a:tr h="36955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Jihomorav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1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,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920904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Olomou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0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,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,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8380585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Zlín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,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,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,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650184"/>
                  </a:ext>
                </a:extLst>
              </a:tr>
              <a:tr h="418640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Moravskoslez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1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1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3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9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8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2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0</a:t>
                      </a: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47631"/>
                  </a:ext>
                </a:extLst>
              </a:tr>
              <a:tr h="276011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Č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7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7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6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9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2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9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7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990863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9C1FABC3-68C3-430D-8101-D384F9E55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6419" y="6584345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* Přímé výsledky všech testů v rámci testování ve školách bez ohledu na věk žáka (testy hlášené </a:t>
            </a:r>
            <a:r>
              <a:rPr lang="cs-CZ" sz="1400" i="1" dirty="0" err="1"/>
              <a:t>agregovaně</a:t>
            </a:r>
            <a:r>
              <a:rPr lang="cs-CZ" sz="1400" i="1" dirty="0"/>
              <a:t>, bez verifikace)</a:t>
            </a:r>
          </a:p>
        </p:txBody>
      </p:sp>
    </p:spTree>
    <p:extLst>
      <p:ext uri="{BB962C8B-B14F-4D97-AF65-F5344CB8AC3E}">
        <p14:creationId xmlns:p14="http://schemas.microsoft.com/office/powerpoint/2010/main" val="14360148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675" y="19052"/>
            <a:ext cx="12125325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ŽÁ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740D1DD-A50D-45F9-9BE1-0C9327F0DE5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62121" y="13579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D34076A-ECD6-43D2-B728-44346AB837C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A08870A-F9CD-4231-B1E9-E0AA1559AFB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7273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58DD397-363F-4CDD-90B7-07538C7ADC0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56926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1A4C7DC-9C9C-4FF8-874C-7CD3A9531F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09898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D876EDA-77D6-4239-A272-75E57ACB734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20591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73A35FA-14A4-4602-A6DE-371FE0E2A16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362123" y="3558214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7A4A096-A1F8-4B95-AB0A-E8D49E9EE2D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362124" y="5691813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08A122B-7B8C-408A-BF61-14C2E9903E2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48413074-0481-4B1B-87D7-A1C60A1B4DE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7273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062BCBC7-8CED-42BA-913B-27FDAA8E98D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956926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B240316-4F03-4364-AB3A-B1647FD0F8A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09898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5F1A4D7-B6F1-40A6-B28D-29C13D542791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20591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08398CB-0D27-4564-85C4-F80B60787DA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5A564B04-399B-49EB-B1AC-C24A27A65D5A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7273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BCEF57A-2AFD-4177-88B2-6790A549F4E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956926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1E15864A-B682-410D-92B7-37384580B81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205623" y="4897938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5" name="TextovéPole 4"/>
          <p:cNvSpPr txBox="1"/>
          <p:nvPr>
            <p:custDataLst>
              <p:tags r:id="rId19"/>
            </p:custDataLst>
          </p:nvPr>
        </p:nvSpPr>
        <p:spPr>
          <a:xfrm>
            <a:off x="10056998" y="5193170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31" name="Obrázek 30">
            <a:extLst>
              <a:ext uri="{FF2B5EF4-FFF2-40B4-BE49-F238E27FC236}">
                <a16:creationId xmlns:a16="http://schemas.microsoft.com/office/drawing/2014/main" id="{C33AEB90-62FF-4893-8785-1DE35CB49A70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545" y="1008825"/>
            <a:ext cx="2286197" cy="1574400"/>
          </a:xfrm>
          <a:prstGeom prst="rect">
            <a:avLst/>
          </a:prstGeom>
        </p:spPr>
      </p:pic>
      <p:pic>
        <p:nvPicPr>
          <p:cNvPr id="32" name="Obrázek 31">
            <a:extLst>
              <a:ext uri="{FF2B5EF4-FFF2-40B4-BE49-F238E27FC236}">
                <a16:creationId xmlns:a16="http://schemas.microsoft.com/office/drawing/2014/main" id="{FB417A93-29FF-4763-B96A-4463DDDDC28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77744" y="1030732"/>
            <a:ext cx="2286196" cy="1566135"/>
          </a:xfrm>
          <a:prstGeom prst="rect">
            <a:avLst/>
          </a:prstGeom>
        </p:spPr>
      </p:pic>
      <p:pic>
        <p:nvPicPr>
          <p:cNvPr id="33" name="Obrázek 32">
            <a:extLst>
              <a:ext uri="{FF2B5EF4-FFF2-40B4-BE49-F238E27FC236}">
                <a16:creationId xmlns:a16="http://schemas.microsoft.com/office/drawing/2014/main" id="{BAFDFBA3-EFEE-463C-8018-1CEC7B7B9B25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1988" y="1029278"/>
            <a:ext cx="2188653" cy="1573660"/>
          </a:xfrm>
          <a:prstGeom prst="rect">
            <a:avLst/>
          </a:prstGeom>
        </p:spPr>
      </p:pic>
      <p:pic>
        <p:nvPicPr>
          <p:cNvPr id="34" name="Obrázek 33">
            <a:extLst>
              <a:ext uri="{FF2B5EF4-FFF2-40B4-BE49-F238E27FC236}">
                <a16:creationId xmlns:a16="http://schemas.microsoft.com/office/drawing/2014/main" id="{AA25C95D-ADA6-491A-8968-830CBEBEBC87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33067" y="1045560"/>
            <a:ext cx="2286196" cy="1566135"/>
          </a:xfrm>
          <a:prstGeom prst="rect">
            <a:avLst/>
          </a:prstGeom>
        </p:spPr>
      </p:pic>
      <p:pic>
        <p:nvPicPr>
          <p:cNvPr id="36" name="Obrázek 35">
            <a:extLst>
              <a:ext uri="{FF2B5EF4-FFF2-40B4-BE49-F238E27FC236}">
                <a16:creationId xmlns:a16="http://schemas.microsoft.com/office/drawing/2014/main" id="{1421838A-9CC9-47D6-AE9A-7FA0656359B6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19264" y="1030835"/>
            <a:ext cx="2188653" cy="1573660"/>
          </a:xfrm>
          <a:prstGeom prst="rect">
            <a:avLst/>
          </a:prstGeom>
        </p:spPr>
      </p:pic>
      <p:pic>
        <p:nvPicPr>
          <p:cNvPr id="41" name="Obrázek 40">
            <a:extLst>
              <a:ext uri="{FF2B5EF4-FFF2-40B4-BE49-F238E27FC236}">
                <a16:creationId xmlns:a16="http://schemas.microsoft.com/office/drawing/2014/main" id="{379B90A3-956A-44D7-A304-B3B9ADCDF7FA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746" y="3193534"/>
            <a:ext cx="2286196" cy="1566135"/>
          </a:xfrm>
          <a:prstGeom prst="rect">
            <a:avLst/>
          </a:prstGeom>
        </p:spPr>
      </p:pic>
      <p:pic>
        <p:nvPicPr>
          <p:cNvPr id="43" name="Obrázek 42">
            <a:extLst>
              <a:ext uri="{FF2B5EF4-FFF2-40B4-BE49-F238E27FC236}">
                <a16:creationId xmlns:a16="http://schemas.microsoft.com/office/drawing/2014/main" id="{14D0E4C5-219F-4744-9018-CBAD44D09D93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77743" y="3206869"/>
            <a:ext cx="2188653" cy="1579688"/>
          </a:xfrm>
          <a:prstGeom prst="rect">
            <a:avLst/>
          </a:prstGeom>
        </p:spPr>
      </p:pic>
      <p:pic>
        <p:nvPicPr>
          <p:cNvPr id="44" name="Obrázek 43">
            <a:extLst>
              <a:ext uri="{FF2B5EF4-FFF2-40B4-BE49-F238E27FC236}">
                <a16:creationId xmlns:a16="http://schemas.microsoft.com/office/drawing/2014/main" id="{BDDCBC89-5CD0-41F9-89A0-2A2C82491928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6347" y="3209906"/>
            <a:ext cx="2286196" cy="1572134"/>
          </a:xfrm>
          <a:prstGeom prst="rect">
            <a:avLst/>
          </a:prstGeom>
        </p:spPr>
      </p:pic>
      <p:pic>
        <p:nvPicPr>
          <p:cNvPr id="45" name="Obrázek 44">
            <a:extLst>
              <a:ext uri="{FF2B5EF4-FFF2-40B4-BE49-F238E27FC236}">
                <a16:creationId xmlns:a16="http://schemas.microsoft.com/office/drawing/2014/main" id="{9EC0E5C8-A127-42DA-B23C-AFF5E82701E5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79310" y="3203451"/>
            <a:ext cx="2188653" cy="1579688"/>
          </a:xfrm>
          <a:prstGeom prst="rect">
            <a:avLst/>
          </a:prstGeom>
        </p:spPr>
      </p:pic>
      <p:pic>
        <p:nvPicPr>
          <p:cNvPr id="46" name="Obrázek 45">
            <a:extLst>
              <a:ext uri="{FF2B5EF4-FFF2-40B4-BE49-F238E27FC236}">
                <a16:creationId xmlns:a16="http://schemas.microsoft.com/office/drawing/2014/main" id="{C2AAB3F2-5DEF-47D6-BCC4-BC6C0E9220A7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90948" y="3207228"/>
            <a:ext cx="2286196" cy="1572134"/>
          </a:xfrm>
          <a:prstGeom prst="rect">
            <a:avLst/>
          </a:prstGeom>
        </p:spPr>
      </p:pic>
      <p:pic>
        <p:nvPicPr>
          <p:cNvPr id="47" name="Obrázek 46">
            <a:extLst>
              <a:ext uri="{FF2B5EF4-FFF2-40B4-BE49-F238E27FC236}">
                <a16:creationId xmlns:a16="http://schemas.microsoft.com/office/drawing/2014/main" id="{916842C1-F364-4308-A881-B00CE5A1E0B8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745" y="5254787"/>
            <a:ext cx="2188653" cy="1573659"/>
          </a:xfrm>
          <a:prstGeom prst="rect">
            <a:avLst/>
          </a:prstGeom>
        </p:spPr>
      </p:pic>
      <p:pic>
        <p:nvPicPr>
          <p:cNvPr id="48" name="Obrázek 47">
            <a:extLst>
              <a:ext uri="{FF2B5EF4-FFF2-40B4-BE49-F238E27FC236}">
                <a16:creationId xmlns:a16="http://schemas.microsoft.com/office/drawing/2014/main" id="{F59FCE87-38C4-47E6-B750-C793676DEDF9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73550" y="5271712"/>
            <a:ext cx="2286196" cy="1566134"/>
          </a:xfrm>
          <a:prstGeom prst="rect">
            <a:avLst/>
          </a:prstGeom>
        </p:spPr>
      </p:pic>
      <p:pic>
        <p:nvPicPr>
          <p:cNvPr id="49" name="Obrázek 48">
            <a:extLst>
              <a:ext uri="{FF2B5EF4-FFF2-40B4-BE49-F238E27FC236}">
                <a16:creationId xmlns:a16="http://schemas.microsoft.com/office/drawing/2014/main" id="{C94422A6-B6FA-4CC8-BB0C-D72D90F707ED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6346" y="5268883"/>
            <a:ext cx="2188653" cy="1573659"/>
          </a:xfrm>
          <a:prstGeom prst="rect">
            <a:avLst/>
          </a:prstGeom>
        </p:spPr>
      </p:pic>
      <p:pic>
        <p:nvPicPr>
          <p:cNvPr id="50" name="Obrázek 49">
            <a:extLst>
              <a:ext uri="{FF2B5EF4-FFF2-40B4-BE49-F238E27FC236}">
                <a16:creationId xmlns:a16="http://schemas.microsoft.com/office/drawing/2014/main" id="{852FF228-4734-4460-A535-40556E80B5D4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30539" y="5272646"/>
            <a:ext cx="2286196" cy="156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974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515" y="26817"/>
            <a:ext cx="11543560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ZAMĚSTNAN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7B7BF9C-A8C5-4F77-B27E-5BD853320F3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71295" y="1329361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27B17EE-36F1-4666-86D3-051B7FB7117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3577065-92DE-4AD3-AAE1-0A135D1BBF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1558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231C5CE-498E-49AF-A82A-C9886886AD5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798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A2DD5F9-45FE-41FB-A021-BD86799DBF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16126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75450C0-57EE-4978-ABDE-87834EE795E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531853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BC49786-37BE-4610-AA3C-ACC6F822C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571297" y="3529638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0EA6A183-6D1C-4DDE-9F9B-5B86BDA78FE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571298" y="56632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7971F6D-FEF1-419E-B425-FF15CA46767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A2DBE2BB-85D3-4704-A4A5-E3220D1C3C2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1558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9C0EE4D-F316-4BAD-B03E-D62778D4997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103691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0F1744-A848-4586-844E-1081D3232AF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116126" y="27656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E3CB9CF-00ED-45DF-A0B6-0BE17F7F601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531853" y="2807434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09BAF25-CB6F-48CA-91CF-8809AB1F8DB4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3178B9A-BBF7-4D5C-9D13-F19FDF5D8D31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1558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8923BFE-A086-436F-A617-0727AB0D8A5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509798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64ADC04-3CCA-42FF-A4D4-86B50BCD5A19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6126" y="488667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34" name="TextovéPole 33"/>
          <p:cNvSpPr txBox="1"/>
          <p:nvPr>
            <p:custDataLst>
              <p:tags r:id="rId19"/>
            </p:custDataLst>
          </p:nvPr>
        </p:nvSpPr>
        <p:spPr>
          <a:xfrm>
            <a:off x="10011433" y="520157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32" name="Obrázek 31">
            <a:extLst>
              <a:ext uri="{FF2B5EF4-FFF2-40B4-BE49-F238E27FC236}">
                <a16:creationId xmlns:a16="http://schemas.microsoft.com/office/drawing/2014/main" id="{364F0ACA-690A-4CFC-BEAA-8B25ED5998E6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925" y="1050537"/>
            <a:ext cx="2200845" cy="1556696"/>
          </a:xfrm>
          <a:prstGeom prst="rect">
            <a:avLst/>
          </a:prstGeom>
        </p:spPr>
      </p:pic>
      <p:pic>
        <p:nvPicPr>
          <p:cNvPr id="33" name="Obrázek 32">
            <a:extLst>
              <a:ext uri="{FF2B5EF4-FFF2-40B4-BE49-F238E27FC236}">
                <a16:creationId xmlns:a16="http://schemas.microsoft.com/office/drawing/2014/main" id="{3BF0701C-2FDA-4672-9523-4A4027C4C8F5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1733" y="1054504"/>
            <a:ext cx="2225232" cy="1548762"/>
          </a:xfrm>
          <a:prstGeom prst="rect">
            <a:avLst/>
          </a:prstGeom>
        </p:spPr>
      </p:pic>
      <p:pic>
        <p:nvPicPr>
          <p:cNvPr id="38" name="Obrázek 37">
            <a:extLst>
              <a:ext uri="{FF2B5EF4-FFF2-40B4-BE49-F238E27FC236}">
                <a16:creationId xmlns:a16="http://schemas.microsoft.com/office/drawing/2014/main" id="{62AB26B2-5C89-4D58-90F8-8EA3B08B96C6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2929" y="1053586"/>
            <a:ext cx="2200845" cy="1556696"/>
          </a:xfrm>
          <a:prstGeom prst="rect">
            <a:avLst/>
          </a:prstGeom>
        </p:spPr>
      </p:pic>
      <p:pic>
        <p:nvPicPr>
          <p:cNvPr id="39" name="Obrázek 38">
            <a:extLst>
              <a:ext uri="{FF2B5EF4-FFF2-40B4-BE49-F238E27FC236}">
                <a16:creationId xmlns:a16="http://schemas.microsoft.com/office/drawing/2014/main" id="{2D33D102-1862-48DB-896D-954113CE5304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16125" y="1074870"/>
            <a:ext cx="2225232" cy="1548762"/>
          </a:xfrm>
          <a:prstGeom prst="rect">
            <a:avLst/>
          </a:prstGeom>
        </p:spPr>
      </p:pic>
      <p:pic>
        <p:nvPicPr>
          <p:cNvPr id="40" name="Obrázek 39">
            <a:extLst>
              <a:ext uri="{FF2B5EF4-FFF2-40B4-BE49-F238E27FC236}">
                <a16:creationId xmlns:a16="http://schemas.microsoft.com/office/drawing/2014/main" id="{4D70A89F-BA33-4040-8630-9375CB680357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41359" y="1088344"/>
            <a:ext cx="2200845" cy="1556696"/>
          </a:xfrm>
          <a:prstGeom prst="rect">
            <a:avLst/>
          </a:prstGeom>
        </p:spPr>
      </p:pic>
      <p:pic>
        <p:nvPicPr>
          <p:cNvPr id="41" name="Obrázek 40">
            <a:extLst>
              <a:ext uri="{FF2B5EF4-FFF2-40B4-BE49-F238E27FC236}">
                <a16:creationId xmlns:a16="http://schemas.microsoft.com/office/drawing/2014/main" id="{6B9D3581-0027-49A8-9A7E-AB9062ECF3D9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2571" y="3174387"/>
            <a:ext cx="2225232" cy="1548762"/>
          </a:xfrm>
          <a:prstGeom prst="rect">
            <a:avLst/>
          </a:prstGeom>
        </p:spPr>
      </p:pic>
      <p:pic>
        <p:nvPicPr>
          <p:cNvPr id="49" name="Obrázek 48">
            <a:extLst>
              <a:ext uri="{FF2B5EF4-FFF2-40B4-BE49-F238E27FC236}">
                <a16:creationId xmlns:a16="http://schemas.microsoft.com/office/drawing/2014/main" id="{449EC570-372C-4BFD-8B5B-54ECE52CC1AB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15589" y="3164390"/>
            <a:ext cx="2200846" cy="1562660"/>
          </a:xfrm>
          <a:prstGeom prst="rect">
            <a:avLst/>
          </a:prstGeom>
        </p:spPr>
      </p:pic>
      <p:pic>
        <p:nvPicPr>
          <p:cNvPr id="50" name="Obrázek 49">
            <a:extLst>
              <a:ext uri="{FF2B5EF4-FFF2-40B4-BE49-F238E27FC236}">
                <a16:creationId xmlns:a16="http://schemas.microsoft.com/office/drawing/2014/main" id="{5A09F269-30BF-4F64-B730-E4CA8C89C0F3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3384" y="3200816"/>
            <a:ext cx="2225231" cy="1554695"/>
          </a:xfrm>
          <a:prstGeom prst="rect">
            <a:avLst/>
          </a:prstGeom>
        </p:spPr>
      </p:pic>
      <p:pic>
        <p:nvPicPr>
          <p:cNvPr id="51" name="Obrázek 50">
            <a:extLst>
              <a:ext uri="{FF2B5EF4-FFF2-40B4-BE49-F238E27FC236}">
                <a16:creationId xmlns:a16="http://schemas.microsoft.com/office/drawing/2014/main" id="{740202B8-D52B-49F6-B1D2-43653D57688C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53348" y="3230266"/>
            <a:ext cx="2200846" cy="1562660"/>
          </a:xfrm>
          <a:prstGeom prst="rect">
            <a:avLst/>
          </a:prstGeom>
        </p:spPr>
      </p:pic>
      <p:pic>
        <p:nvPicPr>
          <p:cNvPr id="52" name="Obrázek 51">
            <a:extLst>
              <a:ext uri="{FF2B5EF4-FFF2-40B4-BE49-F238E27FC236}">
                <a16:creationId xmlns:a16="http://schemas.microsoft.com/office/drawing/2014/main" id="{E3345337-4720-4F17-AB65-CB42A4472A23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41116" y="3234248"/>
            <a:ext cx="2225231" cy="1554695"/>
          </a:xfrm>
          <a:prstGeom prst="rect">
            <a:avLst/>
          </a:prstGeom>
        </p:spPr>
      </p:pic>
      <p:pic>
        <p:nvPicPr>
          <p:cNvPr id="53" name="Obrázek 52">
            <a:extLst>
              <a:ext uri="{FF2B5EF4-FFF2-40B4-BE49-F238E27FC236}">
                <a16:creationId xmlns:a16="http://schemas.microsoft.com/office/drawing/2014/main" id="{86FB5690-A58F-4A3F-A59B-A0DC2130BB49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6756" y="5231971"/>
            <a:ext cx="2200845" cy="1556696"/>
          </a:xfrm>
          <a:prstGeom prst="rect">
            <a:avLst/>
          </a:prstGeom>
        </p:spPr>
      </p:pic>
      <p:pic>
        <p:nvPicPr>
          <p:cNvPr id="54" name="Obrázek 53">
            <a:extLst>
              <a:ext uri="{FF2B5EF4-FFF2-40B4-BE49-F238E27FC236}">
                <a16:creationId xmlns:a16="http://schemas.microsoft.com/office/drawing/2014/main" id="{BBF6040A-6EA2-43BB-8EE2-BE4B1D134657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07334" y="5222469"/>
            <a:ext cx="2225232" cy="1548762"/>
          </a:xfrm>
          <a:prstGeom prst="rect">
            <a:avLst/>
          </a:prstGeom>
        </p:spPr>
      </p:pic>
      <p:pic>
        <p:nvPicPr>
          <p:cNvPr id="56" name="Obrázek 55">
            <a:extLst>
              <a:ext uri="{FF2B5EF4-FFF2-40B4-BE49-F238E27FC236}">
                <a16:creationId xmlns:a16="http://schemas.microsoft.com/office/drawing/2014/main" id="{2D277971-78BE-49D1-B191-0DBA7E92FA6D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40823" y="5226760"/>
            <a:ext cx="2200845" cy="1556696"/>
          </a:xfrm>
          <a:prstGeom prst="rect">
            <a:avLst/>
          </a:prstGeom>
        </p:spPr>
      </p:pic>
      <p:pic>
        <p:nvPicPr>
          <p:cNvPr id="57" name="Obrázek 56">
            <a:extLst>
              <a:ext uri="{FF2B5EF4-FFF2-40B4-BE49-F238E27FC236}">
                <a16:creationId xmlns:a16="http://schemas.microsoft.com/office/drawing/2014/main" id="{00BE8919-9E30-41AA-AA7C-9816686B6DA2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91366" y="5248394"/>
            <a:ext cx="2225232" cy="1548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3770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92a72d3433424d4497ed13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99</TotalTime>
  <Words>4202</Words>
  <Application>Microsoft Office PowerPoint</Application>
  <PresentationFormat>Širokoúhlá obrazovka</PresentationFormat>
  <Paragraphs>845</Paragraphs>
  <Slides>30</Slides>
  <Notes>16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0</vt:i4>
      </vt:variant>
    </vt:vector>
  </HeadingPairs>
  <TitlesOfParts>
    <vt:vector size="38" baseType="lpstr">
      <vt:lpstr>Arial</vt:lpstr>
      <vt:lpstr>Arial (Základní text)</vt:lpstr>
      <vt:lpstr>Calibri</vt:lpstr>
      <vt:lpstr>Calibri Light</vt:lpstr>
      <vt:lpstr>1_Motiv systému Office</vt:lpstr>
      <vt:lpstr>5_Motiv Office</vt:lpstr>
      <vt:lpstr>1_Motiv Office</vt:lpstr>
      <vt:lpstr>12_Motiv Office</vt:lpstr>
      <vt:lpstr>Datová a informační základna  pro management pandemie COVID-19</vt:lpstr>
      <vt:lpstr>Prezentace aplikace PowerPoint</vt:lpstr>
      <vt:lpstr>Harmonogram otevírání školských zařízení v krajích ČR 2021</vt:lpstr>
      <vt:lpstr>Kumulativní počet testů provedených přímo ve školách </vt:lpstr>
      <vt:lpstr>Testy ve školách – průběžné výsledky (dle CFA) 12.4–2.7.2021 </vt:lpstr>
      <vt:lpstr>Testy ve školách – průběžné výsledky (dle CFA) 12.4–2.7.2021 </vt:lpstr>
      <vt:lpstr>Testy ve školách – průběžné výsledky dle krajů (přepočet na 100tis. testů)</vt:lpstr>
      <vt:lpstr>Testy ve školách – průběžné výsledky dle krajů (přepočet na 100tis. testů): ŽÁCI</vt:lpstr>
      <vt:lpstr>Testy ve školách – průběžné výsledky dle krajů (přepočet na 100tis. testů): ZAMĚSTNANCI</vt:lpstr>
      <vt:lpstr>Testy ve školách – souhrnné hodnocení </vt:lpstr>
      <vt:lpstr>Datová a informační základna  pro management pandemie COVID-19</vt:lpstr>
      <vt:lpstr>Prezentace aplikace PowerPoint</vt:lpstr>
      <vt:lpstr>Testy hlášení ze škol – průběžné výsledky</vt:lpstr>
      <vt:lpstr>Populační záchyty nákazy u dětí různých věkových kategorií</vt:lpstr>
      <vt:lpstr>Výsledky testů u dětí 5-15 let mezi 12.4 – 2.7.2021</vt:lpstr>
      <vt:lpstr>Výsledky testů u dětí 5-11 let mezi 12.4 – 2.7.2021</vt:lpstr>
      <vt:lpstr>Výsledky testů u dětí 12-15 let mezi 12.4 – 2.7.2021</vt:lpstr>
      <vt:lpstr>Výsledky testů u dětí 5-15 let mezi 14.6 – 2.7.2021</vt:lpstr>
      <vt:lpstr>Výsledky testů u dětí 5-11 let mezi 14.6 – 2.7.2021</vt:lpstr>
      <vt:lpstr>Výsledky testů u dětí 12-15 let mezi 14.6 – 2.7.2021</vt:lpstr>
      <vt:lpstr>Výsledky testů u dětí  - celkový přehled</vt:lpstr>
      <vt:lpstr>Datová a informační základna  pro management pandemie COVID-19</vt:lpstr>
      <vt:lpstr>Počty COVID-19 pozitivních v ČR na 100 000 v populaci</vt:lpstr>
      <vt:lpstr>Počty testů na 100 tis. dětí v čase</vt:lpstr>
      <vt:lpstr>Počty nově COVID-19 pozitivních na 100 testů u dětí v čase</vt:lpstr>
      <vt:lpstr>Nové případy za 7 dní na 100 000 obyvatel: srovnání krajů k 2.7.: 0–4 let</vt:lpstr>
      <vt:lpstr>Nové případy za 7 dní na 100 000 obyvatel: srovnání krajů k 2.7.: 5–11 let</vt:lpstr>
      <vt:lpstr>Nové případy za 7 dní na 100 000 obyvatel: srovnání krajů k 2.7.: 12–19 let</vt:lpstr>
      <vt:lpstr>Nové případy za 7 dní na 100 000 obyvatel: srovnání krajů k 2.7.: 12–15 let</vt:lpstr>
      <vt:lpstr>Nové případy za 7 dní na 100 000 obyvatel: srovnání krajů k 2.7.: 16–19 l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3357</cp:revision>
  <dcterms:created xsi:type="dcterms:W3CDTF">2020-03-16T10:06:11Z</dcterms:created>
  <dcterms:modified xsi:type="dcterms:W3CDTF">2021-07-06T19:25:29Z</dcterms:modified>
</cp:coreProperties>
</file>